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30.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2.xml" ContentType="application/vnd.openxmlformats-officedocument.presentationml.tags+xml"/>
  <Override PartName="/ppt/charts/chart14.xml" ContentType="application/vnd.openxmlformats-officedocument.drawingml.chart+xml"/>
  <Override PartName="/ppt/tags/tag33.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tags/tag35.xml" ContentType="application/vnd.openxmlformats-officedocument.presentationml.tags+xml"/>
  <Override PartName="/ppt/charts/chart20.xml" ContentType="application/vnd.openxmlformats-officedocument.drawingml.chart+xml"/>
  <Override PartName="/ppt/tags/tag36.xml" ContentType="application/vnd.openxmlformats-officedocument.presentationml.tags+xml"/>
  <Override PartName="/ppt/charts/chart21.xml" ContentType="application/vnd.openxmlformats-officedocument.drawingml.chart+xml"/>
  <Override PartName="/ppt/tags/tag37.xml" ContentType="application/vnd.openxmlformats-officedocument.presentationml.tags+xml"/>
  <Override PartName="/ppt/charts/chart22.xml" ContentType="application/vnd.openxmlformats-officedocument.drawingml.chart+xml"/>
  <Override PartName="/ppt/tags/tag38.xml" ContentType="application/vnd.openxmlformats-officedocument.presentationml.tags+xml"/>
  <Override PartName="/ppt/charts/chart23.xml" ContentType="application/vnd.openxmlformats-officedocument.drawingml.chart+xml"/>
  <Override PartName="/ppt/tags/tag39.xml" ContentType="application/vnd.openxmlformats-officedocument.presentationml.tags+xml"/>
  <Override PartName="/ppt/charts/chart24.xml" ContentType="application/vnd.openxmlformats-officedocument.drawingml.chart+xml"/>
  <Override PartName="/ppt/tags/tag40.xml" ContentType="application/vnd.openxmlformats-officedocument.presentationml.tags+xml"/>
  <Override PartName="/ppt/charts/chart25.xml" ContentType="application/vnd.openxmlformats-officedocument.drawingml.chart+xml"/>
  <Override PartName="/ppt/tags/tag41.xml" ContentType="application/vnd.openxmlformats-officedocument.presentationml.tags+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tags/tag43.xml" ContentType="application/vnd.openxmlformats-officedocument.presentationml.tags+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tags/tag48.xml" ContentType="application/vnd.openxmlformats-officedocument.presentationml.tags+xml"/>
  <Override PartName="/ppt/charts/chart33.xml" ContentType="application/vnd.openxmlformats-officedocument.drawingml.chart+xml"/>
  <Override PartName="/ppt/tags/tag49.xml" ContentType="application/vnd.openxmlformats-officedocument.presentationml.tags+xml"/>
  <Override PartName="/ppt/charts/chart34.xml" ContentType="application/vnd.openxmlformats-officedocument.drawingml.chart+xml"/>
  <Override PartName="/ppt/tags/tag50.xml" ContentType="application/vnd.openxmlformats-officedocument.presentationml.tags+xml"/>
  <Override PartName="/ppt/charts/chart35.xml" ContentType="application/vnd.openxmlformats-officedocument.drawingml.chart+xml"/>
  <Override PartName="/ppt/tags/tag51.xml" ContentType="application/vnd.openxmlformats-officedocument.presentationml.tags+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tags/tag53.xml" ContentType="application/vnd.openxmlformats-officedocument.presentationml.tags+xml"/>
  <Override PartName="/ppt/charts/chart38.xml" ContentType="application/vnd.openxmlformats-officedocument.drawingml.chart+xml"/>
  <Override PartName="/ppt/tags/tag54.xml" ContentType="application/vnd.openxmlformats-officedocument.presentationml.tags+xml"/>
  <Override PartName="/ppt/charts/chart39.xml" ContentType="application/vnd.openxmlformats-officedocument.drawingml.chart+xml"/>
  <Override PartName="/ppt/tags/tag55.xml" ContentType="application/vnd.openxmlformats-officedocument.presentationml.tags+xml"/>
  <Override PartName="/ppt/charts/chart40.xml" ContentType="application/vnd.openxmlformats-officedocument.drawingml.chart+xml"/>
  <Override PartName="/ppt/tags/tag56.xml" ContentType="application/vnd.openxmlformats-officedocument.presentationml.tags+xml"/>
  <Override PartName="/ppt/charts/chart41.xml" ContentType="application/vnd.openxmlformats-officedocument.drawingml.chart+xml"/>
  <Override PartName="/ppt/tags/tag57.xml" ContentType="application/vnd.openxmlformats-officedocument.presentationml.tags+xml"/>
  <Override PartName="/ppt/charts/chart42.xml" ContentType="application/vnd.openxmlformats-officedocument.drawingml.chart+xml"/>
  <Override PartName="/ppt/tags/tag58.xml" ContentType="application/vnd.openxmlformats-officedocument.presentationml.tags+xml"/>
  <Override PartName="/ppt/charts/chart43.xml" ContentType="application/vnd.openxmlformats-officedocument.drawingml.chart+xml"/>
  <Override PartName="/ppt/tags/tag59.xml" ContentType="application/vnd.openxmlformats-officedocument.presentationml.tags+xml"/>
  <Override PartName="/ppt/charts/chart44.xml" ContentType="application/vnd.openxmlformats-officedocument.drawingml.chart+xml"/>
  <Override PartName="/ppt/tags/tag60.xml" ContentType="application/vnd.openxmlformats-officedocument.presentationml.tags+xml"/>
  <Override PartName="/ppt/charts/chart45.xml" ContentType="application/vnd.openxmlformats-officedocument.drawingml.chart+xml"/>
  <Override PartName="/ppt/tags/tag61.xml" ContentType="application/vnd.openxmlformats-officedocument.presentationml.tags+xml"/>
  <Override PartName="/ppt/charts/chart46.xml" ContentType="application/vnd.openxmlformats-officedocument.drawingml.chart+xml"/>
  <Override PartName="/ppt/tags/tag62.xml" ContentType="application/vnd.openxmlformats-officedocument.presentationml.tags+xml"/>
  <Override PartName="/ppt/charts/chart47.xml" ContentType="application/vnd.openxmlformats-officedocument.drawingml.chart+xml"/>
  <Override PartName="/ppt/tags/tag63.xml" ContentType="application/vnd.openxmlformats-officedocument.presentationml.tags+xml"/>
  <Override PartName="/ppt/charts/chart48.xml" ContentType="application/vnd.openxmlformats-officedocument.drawingml.chart+xml"/>
  <Override PartName="/ppt/tags/tag64.xml" ContentType="application/vnd.openxmlformats-officedocument.presentationml.tags+xml"/>
  <Override PartName="/ppt/charts/chart49.xml" ContentType="application/vnd.openxmlformats-officedocument.drawingml.chart+xml"/>
  <Override PartName="/ppt/tags/tag65.xml" ContentType="application/vnd.openxmlformats-officedocument.presentationml.tags+xml"/>
  <Override PartName="/ppt/charts/chart50.xml" ContentType="application/vnd.openxmlformats-officedocument.drawingml.chart+xml"/>
  <Override PartName="/ppt/tags/tag66.xml" ContentType="application/vnd.openxmlformats-officedocument.presentationml.tags+xml"/>
  <Override PartName="/ppt/charts/chart51.xml" ContentType="application/vnd.openxmlformats-officedocument.drawingml.chart+xml"/>
  <Override PartName="/ppt/tags/tag67.xml" ContentType="application/vnd.openxmlformats-officedocument.presentationml.tags+xml"/>
  <Override PartName="/ppt/charts/chart52.xml" ContentType="application/vnd.openxmlformats-officedocument.drawingml.chart+xml"/>
  <Override PartName="/ppt/tags/tag68.xml" ContentType="application/vnd.openxmlformats-officedocument.presentationml.tags+xml"/>
  <Override PartName="/ppt/charts/chart53.xml" ContentType="application/vnd.openxmlformats-officedocument.drawingml.chart+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notesSlides/notesSlide3.xml" ContentType="application/vnd.openxmlformats-officedocument.presentationml.notesSlide+xml"/>
  <Override PartName="/ppt/tags/tag72.xml" ContentType="application/vnd.openxmlformats-officedocument.presentationml.tags+xml"/>
  <Override PartName="/ppt/notesSlides/notesSlide4.xml" ContentType="application/vnd.openxmlformats-officedocument.presentationml.notesSlide+xml"/>
  <Override PartName="/ppt/tags/tag73.xml" ContentType="application/vnd.openxmlformats-officedocument.presentationml.tags+xml"/>
  <Override PartName="/ppt/notesSlides/notesSlide5.xml" ContentType="application/vnd.openxmlformats-officedocument.presentationml.notesSlide+xml"/>
  <Override PartName="/ppt/tags/tag74.xml" ContentType="application/vnd.openxmlformats-officedocument.presentationml.tags+xml"/>
  <Override PartName="/ppt/notesSlides/notesSlide6.xml" ContentType="application/vnd.openxmlformats-officedocument.presentationml.notesSlide+xml"/>
  <Override PartName="/ppt/tags/tag75.xml" ContentType="application/vnd.openxmlformats-officedocument.presentationml.tags+xml"/>
  <Override PartName="/ppt/notesSlides/notesSlide7.xml" ContentType="application/vnd.openxmlformats-officedocument.presentationml.notesSlide+xml"/>
  <Override PartName="/ppt/tags/tag76.xml" ContentType="application/vnd.openxmlformats-officedocument.presentationml.tags+xml"/>
  <Override PartName="/ppt/notesSlides/notesSlide8.xml" ContentType="application/vnd.openxmlformats-officedocument.presentationml.notesSlide+xml"/>
  <Override PartName="/ppt/tags/tag77.xml" ContentType="application/vnd.openxmlformats-officedocument.presentationml.tags+xml"/>
  <Override PartName="/ppt/notesSlides/notesSlide9.xml" ContentType="application/vnd.openxmlformats-officedocument.presentationml.notesSlide+xml"/>
  <Override PartName="/ppt/charts/chart54.xml" ContentType="application/vnd.openxmlformats-officedocument.drawingml.chart+xml"/>
  <Override PartName="/ppt/charts/style1.xml" ContentType="application/vnd.ms-office.chartstyle+xml"/>
  <Override PartName="/ppt/charts/colors1.xml" ContentType="application/vnd.ms-office.chartcolorstyle+xml"/>
  <Override PartName="/ppt/tags/tag78.xml" ContentType="application/vnd.openxmlformats-officedocument.presentationml.tags+xml"/>
  <Override PartName="/ppt/notesSlides/notesSlide10.xml" ContentType="application/vnd.openxmlformats-officedocument.presentationml.notesSlide+xml"/>
  <Override PartName="/ppt/charts/chart55.xml" ContentType="application/vnd.openxmlformats-officedocument.drawingml.chart+xml"/>
  <Override PartName="/ppt/charts/style2.xml" ContentType="application/vnd.ms-office.chartstyle+xml"/>
  <Override PartName="/ppt/charts/colors2.xml" ContentType="application/vnd.ms-office.chartcolorstyle+xml"/>
  <Override PartName="/ppt/tags/tag79.xml" ContentType="application/vnd.openxmlformats-officedocument.presentationml.tags+xml"/>
  <Override PartName="/ppt/notesSlides/notesSlide11.xml" ContentType="application/vnd.openxmlformats-officedocument.presentationml.notesSlide+xml"/>
  <Override PartName="/ppt/charts/chart56.xml" ContentType="application/vnd.openxmlformats-officedocument.drawingml.chart+xml"/>
  <Override PartName="/ppt/charts/style3.xml" ContentType="application/vnd.ms-office.chartstyle+xml"/>
  <Override PartName="/ppt/charts/colors3.xml" ContentType="application/vnd.ms-office.chartcolorstyle+xml"/>
  <Override PartName="/ppt/tags/tag80.xml" ContentType="application/vnd.openxmlformats-officedocument.presentationml.tags+xml"/>
  <Override PartName="/ppt/notesSlides/notesSlide12.xml" ContentType="application/vnd.openxmlformats-officedocument.presentationml.notesSlide+xml"/>
  <Override PartName="/ppt/charts/chart57.xml" ContentType="application/vnd.openxmlformats-officedocument.drawingml.chart+xml"/>
  <Override PartName="/ppt/charts/style4.xml" ContentType="application/vnd.ms-office.chartstyle+xml"/>
  <Override PartName="/ppt/charts/colors4.xml" ContentType="application/vnd.ms-office.chartcolorstyle+xml"/>
  <Override PartName="/ppt/tags/tag81.xml" ContentType="application/vnd.openxmlformats-officedocument.presentationml.tags+xml"/>
  <Override PartName="/ppt/notesSlides/notesSlide13.xml" ContentType="application/vnd.openxmlformats-officedocument.presentationml.notesSlide+xml"/>
  <Override PartName="/ppt/charts/chart58.xml" ContentType="application/vnd.openxmlformats-officedocument.drawingml.chart+xml"/>
  <Override PartName="/ppt/charts/style5.xml" ContentType="application/vnd.ms-office.chartstyle+xml"/>
  <Override PartName="/ppt/charts/colors5.xml" ContentType="application/vnd.ms-office.chartcolorstyle+xml"/>
  <Override PartName="/ppt/tags/tag82.xml" ContentType="application/vnd.openxmlformats-officedocument.presentationml.tags+xml"/>
  <Override PartName="/ppt/notesSlides/notesSlide14.xml" ContentType="application/vnd.openxmlformats-officedocument.presentationml.notesSlide+xml"/>
  <Override PartName="/ppt/charts/chart59.xml" ContentType="application/vnd.openxmlformats-officedocument.drawingml.chart+xml"/>
  <Override PartName="/ppt/charts/style6.xml" ContentType="application/vnd.ms-office.chartstyle+xml"/>
  <Override PartName="/ppt/charts/colors6.xml" ContentType="application/vnd.ms-office.chartcolorstyle+xml"/>
  <Override PartName="/ppt/tags/tag83.xml" ContentType="application/vnd.openxmlformats-officedocument.presentationml.tags+xml"/>
  <Override PartName="/ppt/notesSlides/notesSlide15.xml" ContentType="application/vnd.openxmlformats-officedocument.presentationml.notesSlide+xml"/>
  <Override PartName="/ppt/charts/chart60.xml" ContentType="application/vnd.openxmlformats-officedocument.drawingml.chart+xml"/>
  <Override PartName="/ppt/charts/style7.xml" ContentType="application/vnd.ms-office.chartstyle+xml"/>
  <Override PartName="/ppt/charts/colors7.xml" ContentType="application/vnd.ms-office.chartcolorstyle+xml"/>
  <Override PartName="/ppt/tags/tag84.xml" ContentType="application/vnd.openxmlformats-officedocument.presentationml.tags+xml"/>
  <Override PartName="/ppt/notesSlides/notesSlide16.xml" ContentType="application/vnd.openxmlformats-officedocument.presentationml.notesSlide+xml"/>
  <Override PartName="/ppt/charts/chart61.xml" ContentType="application/vnd.openxmlformats-officedocument.drawingml.chart+xml"/>
  <Override PartName="/ppt/charts/style8.xml" ContentType="application/vnd.ms-office.chartstyle+xml"/>
  <Override PartName="/ppt/charts/colors8.xml" ContentType="application/vnd.ms-office.chartcolorstyle+xml"/>
  <Override PartName="/ppt/tags/tag85.xml" ContentType="application/vnd.openxmlformats-officedocument.presentationml.tags+xml"/>
  <Override PartName="/ppt/notesSlides/notesSlide17.xml" ContentType="application/vnd.openxmlformats-officedocument.presentationml.notesSlide+xml"/>
  <Override PartName="/ppt/charts/chart62.xml" ContentType="application/vnd.openxmlformats-officedocument.drawingml.chart+xml"/>
  <Override PartName="/ppt/charts/style9.xml" ContentType="application/vnd.ms-office.chartstyle+xml"/>
  <Override PartName="/ppt/charts/colors9.xml" ContentType="application/vnd.ms-office.chartcolorstyle+xml"/>
  <Override PartName="/ppt/tags/tag86.xml" ContentType="application/vnd.openxmlformats-officedocument.presentationml.tags+xml"/>
  <Override PartName="/ppt/notesSlides/notesSlide18.xml" ContentType="application/vnd.openxmlformats-officedocument.presentationml.notesSlide+xml"/>
  <Override PartName="/ppt/charts/chart63.xml" ContentType="application/vnd.openxmlformats-officedocument.drawingml.chart+xml"/>
  <Override PartName="/ppt/charts/style10.xml" ContentType="application/vnd.ms-office.chartstyle+xml"/>
  <Override PartName="/ppt/charts/colors10.xml" ContentType="application/vnd.ms-office.chartcolorstyle+xml"/>
  <Override PartName="/ppt/tags/tag87.xml" ContentType="application/vnd.openxmlformats-officedocument.presentationml.tags+xml"/>
  <Override PartName="/ppt/notesSlides/notesSlide19.xml" ContentType="application/vnd.openxmlformats-officedocument.presentationml.notesSlide+xml"/>
  <Override PartName="/ppt/charts/chart64.xml" ContentType="application/vnd.openxmlformats-officedocument.drawingml.chart+xml"/>
  <Override PartName="/ppt/charts/style11.xml" ContentType="application/vnd.ms-office.chartstyle+xml"/>
  <Override PartName="/ppt/charts/colors11.xml" ContentType="application/vnd.ms-office.chartcolorstyle+xml"/>
  <Override PartName="/ppt/tags/tag88.xml" ContentType="application/vnd.openxmlformats-officedocument.presentationml.tags+xml"/>
  <Override PartName="/ppt/notesSlides/notesSlide20.xml" ContentType="application/vnd.openxmlformats-officedocument.presentationml.notesSlide+xml"/>
  <Override PartName="/ppt/charts/chart65.xml" ContentType="application/vnd.openxmlformats-officedocument.drawingml.chart+xml"/>
  <Override PartName="/ppt/charts/style12.xml" ContentType="application/vnd.ms-office.chartstyle+xml"/>
  <Override PartName="/ppt/charts/colors12.xml" ContentType="application/vnd.ms-office.chartcolorstyle+xml"/>
  <Override PartName="/ppt/tags/tag89.xml" ContentType="application/vnd.openxmlformats-officedocument.presentationml.tags+xml"/>
  <Override PartName="/ppt/notesSlides/notesSlide21.xml" ContentType="application/vnd.openxmlformats-officedocument.presentationml.notesSlide+xml"/>
  <Override PartName="/ppt/charts/chart66.xml" ContentType="application/vnd.openxmlformats-officedocument.drawingml.chart+xml"/>
  <Override PartName="/ppt/charts/style13.xml" ContentType="application/vnd.ms-office.chartstyle+xml"/>
  <Override PartName="/ppt/charts/colors13.xml" ContentType="application/vnd.ms-office.chartcolorstyle+xml"/>
  <Override PartName="/ppt/tags/tag90.xml" ContentType="application/vnd.openxmlformats-officedocument.presentationml.tags+xml"/>
  <Override PartName="/ppt/notesSlides/notesSlide22.xml" ContentType="application/vnd.openxmlformats-officedocument.presentationml.notesSlide+xml"/>
  <Override PartName="/ppt/charts/chart67.xml" ContentType="application/vnd.openxmlformats-officedocument.drawingml.chart+xml"/>
  <Override PartName="/ppt/charts/style14.xml" ContentType="application/vnd.ms-office.chartstyle+xml"/>
  <Override PartName="/ppt/charts/colors14.xml" ContentType="application/vnd.ms-office.chartcolorstyle+xml"/>
  <Override PartName="/ppt/tags/tag91.xml" ContentType="application/vnd.openxmlformats-officedocument.presentationml.tags+xml"/>
  <Override PartName="/ppt/notesSlides/notesSlide23.xml" ContentType="application/vnd.openxmlformats-officedocument.presentationml.notesSlide+xml"/>
  <Override PartName="/ppt/charts/chart68.xml" ContentType="application/vnd.openxmlformats-officedocument.drawingml.chart+xml"/>
  <Override PartName="/ppt/charts/style15.xml" ContentType="application/vnd.ms-office.chartstyle+xml"/>
  <Override PartName="/ppt/charts/colors15.xml" ContentType="application/vnd.ms-office.chartcolorstyle+xml"/>
  <Override PartName="/ppt/tags/tag92.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style16.xml" ContentType="application/vnd.ms-office.chartstyle+xml"/>
  <Override PartName="/ppt/charts/colors16.xml" ContentType="application/vnd.ms-office.chartcolorstyle+xml"/>
  <Override PartName="/ppt/tags/tag93.xml" ContentType="application/vnd.openxmlformats-officedocument.presentationml.tags+xml"/>
  <Override PartName="/ppt/notesSlides/notesSlide25.xml" ContentType="application/vnd.openxmlformats-officedocument.presentationml.notesSlide+xml"/>
  <Override PartName="/ppt/charts/chart70.xml" ContentType="application/vnd.openxmlformats-officedocument.drawingml.chart+xml"/>
  <Override PartName="/ppt/charts/style17.xml" ContentType="application/vnd.ms-office.chartstyle+xml"/>
  <Override PartName="/ppt/charts/colors17.xml" ContentType="application/vnd.ms-office.chartcolorstyle+xml"/>
  <Override PartName="/ppt/tags/tag94.xml" ContentType="application/vnd.openxmlformats-officedocument.presentationml.tags+xml"/>
  <Override PartName="/ppt/notesSlides/notesSlide26.xml" ContentType="application/vnd.openxmlformats-officedocument.presentationml.notesSlide+xml"/>
  <Override PartName="/ppt/charts/chart71.xml" ContentType="application/vnd.openxmlformats-officedocument.drawingml.chart+xml"/>
  <Override PartName="/ppt/charts/style18.xml" ContentType="application/vnd.ms-office.chartstyle+xml"/>
  <Override PartName="/ppt/charts/colors18.xml" ContentType="application/vnd.ms-office.chartcolorstyle+xml"/>
  <Override PartName="/ppt/tags/tag95.xml" ContentType="application/vnd.openxmlformats-officedocument.presentationml.tags+xml"/>
  <Override PartName="/ppt/notesSlides/notesSlide27.xml" ContentType="application/vnd.openxmlformats-officedocument.presentationml.notesSlide+xml"/>
  <Override PartName="/ppt/charts/chart72.xml" ContentType="application/vnd.openxmlformats-officedocument.drawingml.chart+xml"/>
  <Override PartName="/ppt/charts/style19.xml" ContentType="application/vnd.ms-office.chartstyle+xml"/>
  <Override PartName="/ppt/charts/colors19.xml" ContentType="application/vnd.ms-office.chartcolorstyle+xml"/>
  <Override PartName="/ppt/tags/tag96.xml" ContentType="application/vnd.openxmlformats-officedocument.presentationml.tags+xml"/>
  <Override PartName="/ppt/notesSlides/notesSlide28.xml" ContentType="application/vnd.openxmlformats-officedocument.presentationml.notesSlide+xml"/>
  <Override PartName="/ppt/charts/chart73.xml" ContentType="application/vnd.openxmlformats-officedocument.drawingml.chart+xml"/>
  <Override PartName="/ppt/charts/style20.xml" ContentType="application/vnd.ms-office.chartstyle+xml"/>
  <Override PartName="/ppt/charts/colors20.xml" ContentType="application/vnd.ms-office.chartcolorstyle+xml"/>
  <Override PartName="/ppt/tags/tag97.xml" ContentType="application/vnd.openxmlformats-officedocument.presentationml.tags+xml"/>
  <Override PartName="/ppt/notesSlides/notesSlide29.xml" ContentType="application/vnd.openxmlformats-officedocument.presentationml.notesSlide+xml"/>
  <Override PartName="/ppt/charts/chart74.xml" ContentType="application/vnd.openxmlformats-officedocument.drawingml.chart+xml"/>
  <Override PartName="/ppt/charts/style21.xml" ContentType="application/vnd.ms-office.chartstyle+xml"/>
  <Override PartName="/ppt/charts/colors21.xml" ContentType="application/vnd.ms-office.chartcolorstyle+xml"/>
  <Override PartName="/ppt/tags/tag98.xml" ContentType="application/vnd.openxmlformats-officedocument.presentationml.tags+xml"/>
  <Override PartName="/ppt/notesSlides/notesSlide30.xml" ContentType="application/vnd.openxmlformats-officedocument.presentationml.notesSlide+xml"/>
  <Override PartName="/ppt/charts/chart75.xml" ContentType="application/vnd.openxmlformats-officedocument.drawingml.chart+xml"/>
  <Override PartName="/ppt/charts/style22.xml" ContentType="application/vnd.ms-office.chartstyle+xml"/>
  <Override PartName="/ppt/charts/colors22.xml" ContentType="application/vnd.ms-office.chartcolorstyle+xml"/>
  <Override PartName="/ppt/tags/tag99.xml" ContentType="application/vnd.openxmlformats-officedocument.presentationml.tags+xml"/>
  <Override PartName="/ppt/notesSlides/notesSlide31.xml" ContentType="application/vnd.openxmlformats-officedocument.presentationml.notesSlide+xml"/>
  <Override PartName="/ppt/charts/chart76.xml" ContentType="application/vnd.openxmlformats-officedocument.drawingml.chart+xml"/>
  <Override PartName="/ppt/charts/style23.xml" ContentType="application/vnd.ms-office.chartstyle+xml"/>
  <Override PartName="/ppt/charts/colors23.xml" ContentType="application/vnd.ms-office.chartcolorstyle+xml"/>
  <Override PartName="/ppt/tags/tag100.xml" ContentType="application/vnd.openxmlformats-officedocument.presentationml.tags+xml"/>
  <Override PartName="/ppt/notesSlides/notesSlide32.xml" ContentType="application/vnd.openxmlformats-officedocument.presentationml.notesSlide+xml"/>
  <Override PartName="/ppt/charts/chart77.xml" ContentType="application/vnd.openxmlformats-officedocument.drawingml.chart+xml"/>
  <Override PartName="/ppt/charts/style24.xml" ContentType="application/vnd.ms-office.chartstyle+xml"/>
  <Override PartName="/ppt/charts/colors24.xml" ContentType="application/vnd.ms-office.chartcolorstyle+xml"/>
  <Override PartName="/ppt/tags/tag101.xml" ContentType="application/vnd.openxmlformats-officedocument.presentationml.tags+xml"/>
  <Override PartName="/ppt/notesSlides/notesSlide33.xml" ContentType="application/vnd.openxmlformats-officedocument.presentationml.notesSlide+xml"/>
  <Override PartName="/ppt/charts/chart78.xml" ContentType="application/vnd.openxmlformats-officedocument.drawingml.chart+xml"/>
  <Override PartName="/ppt/charts/style25.xml" ContentType="application/vnd.ms-office.chartstyle+xml"/>
  <Override PartName="/ppt/charts/colors25.xml" ContentType="application/vnd.ms-office.chartcolorstyle+xml"/>
  <Override PartName="/ppt/tags/tag102.xml" ContentType="application/vnd.openxmlformats-officedocument.presentationml.tags+xml"/>
  <Override PartName="/ppt/notesSlides/notesSlide34.xml" ContentType="application/vnd.openxmlformats-officedocument.presentationml.notesSlide+xml"/>
  <Override PartName="/ppt/charts/chart79.xml" ContentType="application/vnd.openxmlformats-officedocument.drawingml.chart+xml"/>
  <Override PartName="/ppt/charts/style26.xml" ContentType="application/vnd.ms-office.chartstyle+xml"/>
  <Override PartName="/ppt/charts/colors26.xml" ContentType="application/vnd.ms-office.chartcolorstyle+xml"/>
  <Override PartName="/ppt/tags/tag103.xml" ContentType="application/vnd.openxmlformats-officedocument.presentationml.tags+xml"/>
  <Override PartName="/ppt/notesSlides/notesSlide35.xml" ContentType="application/vnd.openxmlformats-officedocument.presentationml.notesSlide+xml"/>
  <Override PartName="/ppt/charts/chart80.xml" ContentType="application/vnd.openxmlformats-officedocument.drawingml.chart+xml"/>
  <Override PartName="/ppt/charts/style27.xml" ContentType="application/vnd.ms-office.chartstyle+xml"/>
  <Override PartName="/ppt/charts/colors27.xml" ContentType="application/vnd.ms-office.chartcolorstyle+xml"/>
  <Override PartName="/ppt/tags/tag104.xml" ContentType="application/vnd.openxmlformats-officedocument.presentationml.tags+xml"/>
  <Override PartName="/ppt/notesSlides/notesSlide36.xml" ContentType="application/vnd.openxmlformats-officedocument.presentationml.notesSlide+xml"/>
  <Override PartName="/ppt/charts/chart81.xml" ContentType="application/vnd.openxmlformats-officedocument.drawingml.chart+xml"/>
  <Override PartName="/ppt/charts/style28.xml" ContentType="application/vnd.ms-office.chartstyle+xml"/>
  <Override PartName="/ppt/charts/colors28.xml" ContentType="application/vnd.ms-office.chartcolorstyle+xml"/>
  <Override PartName="/ppt/tags/tag105.xml" ContentType="application/vnd.openxmlformats-officedocument.presentationml.tags+xml"/>
  <Override PartName="/ppt/notesSlides/notesSlide37.xml" ContentType="application/vnd.openxmlformats-officedocument.presentationml.notesSlide+xml"/>
  <Override PartName="/ppt/charts/chart82.xml" ContentType="application/vnd.openxmlformats-officedocument.drawingml.chart+xml"/>
  <Override PartName="/ppt/charts/style29.xml" ContentType="application/vnd.ms-office.chartstyle+xml"/>
  <Override PartName="/ppt/charts/colors29.xml" ContentType="application/vnd.ms-office.chartcolorstyle+xml"/>
  <Override PartName="/ppt/tags/tag106.xml" ContentType="application/vnd.openxmlformats-officedocument.presentationml.tags+xml"/>
  <Override PartName="/ppt/notesSlides/notesSlide38.xml" ContentType="application/vnd.openxmlformats-officedocument.presentationml.notesSlide+xml"/>
  <Override PartName="/ppt/charts/chart83.xml" ContentType="application/vnd.openxmlformats-officedocument.drawingml.chart+xml"/>
  <Override PartName="/ppt/charts/style30.xml" ContentType="application/vnd.ms-office.chartstyle+xml"/>
  <Override PartName="/ppt/charts/colors30.xml" ContentType="application/vnd.ms-office.chartcolorstyle+xml"/>
  <Override PartName="/ppt/tags/tag107.xml" ContentType="application/vnd.openxmlformats-officedocument.presentationml.tags+xml"/>
  <Override PartName="/ppt/notesSlides/notesSlide39.xml" ContentType="application/vnd.openxmlformats-officedocument.presentationml.notesSlide+xml"/>
  <Override PartName="/ppt/charts/chart84.xml" ContentType="application/vnd.openxmlformats-officedocument.drawingml.chart+xml"/>
  <Override PartName="/ppt/charts/style31.xml" ContentType="application/vnd.ms-office.chartstyle+xml"/>
  <Override PartName="/ppt/charts/colors31.xml" ContentType="application/vnd.ms-office.chartcolorstyle+xml"/>
  <Override PartName="/ppt/tags/tag108.xml" ContentType="application/vnd.openxmlformats-officedocument.presentationml.tags+xml"/>
  <Override PartName="/ppt/notesSlides/notesSlide40.xml" ContentType="application/vnd.openxmlformats-officedocument.presentationml.notesSlide+xml"/>
  <Override PartName="/ppt/charts/chart85.xml" ContentType="application/vnd.openxmlformats-officedocument.drawingml.chart+xml"/>
  <Override PartName="/ppt/charts/style32.xml" ContentType="application/vnd.ms-office.chartstyle+xml"/>
  <Override PartName="/ppt/charts/colors3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6"/>
  </p:notesMasterIdLst>
  <p:sldIdLst>
    <p:sldId id="2147477363" r:id="rId5"/>
    <p:sldId id="2147477364" r:id="rId6"/>
    <p:sldId id="2147477365" r:id="rId7"/>
    <p:sldId id="2147477366" r:id="rId8"/>
    <p:sldId id="2147477367" r:id="rId9"/>
    <p:sldId id="2147477368" r:id="rId10"/>
    <p:sldId id="2147477369" r:id="rId11"/>
    <p:sldId id="2147477370" r:id="rId12"/>
    <p:sldId id="2147477371" r:id="rId13"/>
    <p:sldId id="2147477372" r:id="rId14"/>
    <p:sldId id="2147477373" r:id="rId15"/>
    <p:sldId id="2147477374" r:id="rId16"/>
    <p:sldId id="2147477375" r:id="rId17"/>
    <p:sldId id="2147477376" r:id="rId18"/>
    <p:sldId id="2147477377" r:id="rId19"/>
    <p:sldId id="2147477378" r:id="rId20"/>
    <p:sldId id="2147477379" r:id="rId21"/>
    <p:sldId id="2147477380" r:id="rId22"/>
    <p:sldId id="2147477381" r:id="rId23"/>
    <p:sldId id="2147477382" r:id="rId24"/>
    <p:sldId id="2147477383" r:id="rId25"/>
    <p:sldId id="2147477384" r:id="rId26"/>
    <p:sldId id="2147477385" r:id="rId27"/>
    <p:sldId id="2147477386" r:id="rId28"/>
    <p:sldId id="2147477387" r:id="rId29"/>
    <p:sldId id="2147477388" r:id="rId30"/>
    <p:sldId id="2147477389" r:id="rId31"/>
    <p:sldId id="2147477390" r:id="rId32"/>
    <p:sldId id="2147477391" r:id="rId33"/>
    <p:sldId id="2147477392" r:id="rId34"/>
    <p:sldId id="2147477393" r:id="rId35"/>
    <p:sldId id="2147477394" r:id="rId36"/>
    <p:sldId id="2147477395" r:id="rId37"/>
    <p:sldId id="2147477396" r:id="rId38"/>
    <p:sldId id="2147477397" r:id="rId39"/>
    <p:sldId id="2147477398" r:id="rId40"/>
    <p:sldId id="2147477399" r:id="rId41"/>
    <p:sldId id="2147477400" r:id="rId42"/>
    <p:sldId id="2147477401" r:id="rId43"/>
    <p:sldId id="2147477402" r:id="rId44"/>
    <p:sldId id="2147477403" r:id="rId45"/>
    <p:sldId id="2147477404" r:id="rId46"/>
    <p:sldId id="2147477405" r:id="rId47"/>
    <p:sldId id="2147477406" r:id="rId48"/>
    <p:sldId id="2147477407" r:id="rId49"/>
    <p:sldId id="2147477408" r:id="rId50"/>
    <p:sldId id="2147477409" r:id="rId51"/>
    <p:sldId id="2147477410" r:id="rId52"/>
    <p:sldId id="2147477411" r:id="rId53"/>
    <p:sldId id="2147477412" r:id="rId54"/>
    <p:sldId id="2147477413" r:id="rId55"/>
    <p:sldId id="2147477414" r:id="rId56"/>
    <p:sldId id="2147477415" r:id="rId57"/>
    <p:sldId id="2147477416" r:id="rId58"/>
    <p:sldId id="2147477417" r:id="rId59"/>
    <p:sldId id="2147477418" r:id="rId60"/>
    <p:sldId id="2147477419" r:id="rId61"/>
    <p:sldId id="2147477420" r:id="rId62"/>
    <p:sldId id="2147477421" r:id="rId63"/>
    <p:sldId id="2147477422" r:id="rId64"/>
    <p:sldId id="2147477423" r:id="rId65"/>
    <p:sldId id="2147477424" r:id="rId66"/>
    <p:sldId id="2147477425" r:id="rId67"/>
    <p:sldId id="2147477426" r:id="rId68"/>
    <p:sldId id="2147477427" r:id="rId69"/>
    <p:sldId id="2147477428" r:id="rId70"/>
    <p:sldId id="2147477429" r:id="rId71"/>
    <p:sldId id="2147477430" r:id="rId72"/>
    <p:sldId id="2147477431" r:id="rId73"/>
    <p:sldId id="2147477432" r:id="rId74"/>
    <p:sldId id="2147477433" r:id="rId75"/>
    <p:sldId id="2147477434" r:id="rId76"/>
    <p:sldId id="2147477435" r:id="rId77"/>
    <p:sldId id="2147477436" r:id="rId78"/>
    <p:sldId id="2147477437" r:id="rId79"/>
    <p:sldId id="2147477438" r:id="rId80"/>
    <p:sldId id="2147477439" r:id="rId81"/>
    <p:sldId id="2147477440" r:id="rId82"/>
    <p:sldId id="2147477441" r:id="rId83"/>
    <p:sldId id="2147477442" r:id="rId84"/>
    <p:sldId id="214747744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7CCF014B-0EF3-4C79-B509-83C44854D900}">
          <p14:sldIdLst>
            <p14:sldId id="2147477363"/>
          </p14:sldIdLst>
        </p14:section>
        <p14:section name="Price Positioning Summary Sector" id="{D79C8F66-37D9-4470-BE85-A2C63A6D2776}">
          <p14:sldIdLst>
            <p14:sldId id="2147477364"/>
          </p14:sldIdLst>
        </p14:section>
        <p14:section name="Price Positioning Summary Segment" id="{62891A6E-59EA-41A4-9D06-7E5A09976EEA}">
          <p14:sldIdLst>
            <p14:sldId id="2147477365"/>
            <p14:sldId id="2147477366"/>
            <p14:sldId id="2147477367"/>
          </p14:sldIdLst>
        </p14:section>
        <p14:section name="Price Positioning Summary Subsegment" id="{42724FDE-030D-4632-BC39-576F827C4532}">
          <p14:sldIdLst>
            <p14:sldId id="2147477368"/>
            <p14:sldId id="2147477369"/>
          </p14:sldIdLst>
        </p14:section>
        <p14:section name="Price Positioning Analysis By Brands" id="{3071E53B-D53A-41E2-A069-1274DD420348}">
          <p14:sldIdLst>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Price Positioning Analysis By Manufacturer" id="{F3EBC20D-7324-44F5-A7F4-B6E88B78E877}">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6CBF1BFA-C7B5-4743-844F-E194FD2E151B}">
          <p14:sldIdLst>
            <p14:sldId id="2147477404"/>
          </p14:sldIdLst>
        </p14:section>
        <p14:section name="Segments Share and Growth By Brands" id="{E4E6E1D0-EEDB-44E7-8D0A-7AE52FB898C7}">
          <p14:sldIdLst>
            <p14:sldId id="2147477405"/>
            <p14:sldId id="2147477406"/>
          </p14:sldIdLst>
        </p14:section>
        <p14:section name="SubSegments Share and Growth By Brands" id="{440149AD-6789-4FBF-8D1B-C1338EA80920}">
          <p14:sldIdLst>
            <p14:sldId id="2147477407"/>
          </p14:sldIdLst>
        </p14:section>
        <p14:section name="Sectors Share and Growth By Manufacturer" id="{8C91A9BB-1219-4785-A757-B55029A4A33F}">
          <p14:sldIdLst>
            <p14:sldId id="2147477408"/>
          </p14:sldIdLst>
        </p14:section>
        <p14:section name="Segments Share and Growth By Manufacturer" id="{C9C3B86B-823F-4D5D-9ADA-3FFBF6A68DA9}">
          <p14:sldIdLst>
            <p14:sldId id="2147477409"/>
            <p14:sldId id="2147477410"/>
          </p14:sldIdLst>
        </p14:section>
        <p14:section name="SubSegments Share and Growth By Manufacturer" id="{1747EBB4-5C56-4962-8006-BCB222A4E39B}">
          <p14:sldIdLst>
            <p14:sldId id="2147477411"/>
          </p14:sldIdLst>
        </p14:section>
        <p14:section name="Sec/Seg Value Sales Vs Avg Price By Manufacturer" id="{F4DD10E4-DAB8-4742-B40C-CDFE4E151B1A}">
          <p14:sldIdLst>
            <p14:sldId id="2147477412"/>
          </p14:sldIdLst>
        </p14:section>
        <p14:section name="Sec/Seg Value Sales Vs Avg Price" id="{E6B23C93-9A06-4F49-9004-43449A59DD3F}">
          <p14:sldIdLst>
            <p14:sldId id="2147477413"/>
            <p14:sldId id="2147477414"/>
            <p14:sldId id="2147477415"/>
            <p14:sldId id="2147477416"/>
            <p14:sldId id="2147477417"/>
            <p14:sldId id="2147477418"/>
          </p14:sldIdLst>
        </p14:section>
        <p14:section name="Seg/SubSeg Value Sales Vs Avg Price By Manufacturer" id="{8D7BE854-AF0E-461C-A73E-BA2F2DD6150E}">
          <p14:sldIdLst>
            <p14:sldId id="2147477419"/>
          </p14:sldIdLst>
        </p14:section>
        <p14:section name="Seg/SubSeg Value Sales Vs Avg Price" id="{F861AB2C-EE89-4B33-BD99-56C80A859313}">
          <p14:sldIdLst>
            <p14:sldId id="2147477420"/>
            <p14:sldId id="2147477421"/>
            <p14:sldId id="2147477422"/>
            <p14:sldId id="2147477423"/>
            <p14:sldId id="2147477424"/>
            <p14:sldId id="2147477425"/>
          </p14:sldIdLst>
        </p14:section>
        <p14:section name="Sectors Value Sales Vs Avg Price" id="{8C588674-138A-47E3-9109-92AFC05FCB6A}">
          <p14:sldIdLst>
            <p14:sldId id="2147477426"/>
            <p14:sldId id="2147477427"/>
            <p14:sldId id="2147477428"/>
            <p14:sldId id="2147477429"/>
            <p14:sldId id="2147477430"/>
            <p14:sldId id="2147477431"/>
          </p14:sldIdLst>
        </p14:section>
        <p14:section name="Segment Value Sales Vs Avg Price" id="{E9120BB2-725E-400F-B01E-D09DABAE7AB6}">
          <p14:sldIdLst>
            <p14:sldId id="2147477432"/>
            <p14:sldId id="2147477433"/>
            <p14:sldId id="2147477434"/>
            <p14:sldId id="2147477435"/>
            <p14:sldId id="2147477436"/>
            <p14:sldId id="2147477437"/>
          </p14:sldIdLst>
        </p14:section>
        <p14:section name="SubSegment Value Sales Vs Avg Price" id="{2FB8010B-12FA-4E02-9B4F-A1696A11DA30}">
          <p14:sldIdLst>
            <p14:sldId id="2147477438"/>
            <p14:sldId id="2147477439"/>
            <p14:sldId id="2147477440"/>
            <p14:sldId id="2147477441"/>
            <p14:sldId id="2147477442"/>
            <p14:sldId id="214747744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xml"/><Relationship Id="rId1" Type="http://schemas.microsoft.com/office/2011/relationships/chartStyle" Target="style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2.xml"/><Relationship Id="rId1" Type="http://schemas.microsoft.com/office/2011/relationships/chartStyle" Target="style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3.xml"/><Relationship Id="rId1" Type="http://schemas.microsoft.com/office/2011/relationships/chartStyle" Target="style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4.xml"/><Relationship Id="rId1" Type="http://schemas.microsoft.com/office/2011/relationships/chartStyle" Target="style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xml"/><Relationship Id="rId1" Type="http://schemas.microsoft.com/office/2011/relationships/chartStyle" Target="style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7.xml"/><Relationship Id="rId1" Type="http://schemas.microsoft.com/office/2011/relationships/chartStyle" Target="style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8.xml"/><Relationship Id="rId1" Type="http://schemas.microsoft.com/office/2011/relationships/chartStyle" Target="style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9.xml"/><Relationship Id="rId1" Type="http://schemas.microsoft.com/office/2011/relationships/chartStyle" Target="style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0.xml"/><Relationship Id="rId1" Type="http://schemas.microsoft.com/office/2011/relationships/chartStyle" Target="style1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1.xml"/><Relationship Id="rId1" Type="http://schemas.microsoft.com/office/2011/relationships/chartStyle" Target="style1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2.xml"/><Relationship Id="rId1" Type="http://schemas.microsoft.com/office/2011/relationships/chartStyle" Target="style1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3.xml"/><Relationship Id="rId1" Type="http://schemas.microsoft.com/office/2011/relationships/chartStyle" Target="style1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4.xml"/><Relationship Id="rId1" Type="http://schemas.microsoft.com/office/2011/relationships/chartStyle" Target="style1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15.xml"/><Relationship Id="rId1" Type="http://schemas.microsoft.com/office/2011/relationships/chartStyle" Target="style1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16.xml"/><Relationship Id="rId1" Type="http://schemas.microsoft.com/office/2011/relationships/chartStyle" Target="style1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7.xml"/><Relationship Id="rId1" Type="http://schemas.microsoft.com/office/2011/relationships/chartStyle" Target="style1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8.xml"/><Relationship Id="rId1" Type="http://schemas.microsoft.com/office/2011/relationships/chartStyle" Target="style1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9.xml"/><Relationship Id="rId1" Type="http://schemas.microsoft.com/office/2011/relationships/chartStyle" Target="style1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0.xml"/><Relationship Id="rId1" Type="http://schemas.microsoft.com/office/2011/relationships/chartStyle" Target="style2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1.xml"/><Relationship Id="rId1" Type="http://schemas.microsoft.com/office/2011/relationships/chartStyle" Target="style2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2.xml"/><Relationship Id="rId1" Type="http://schemas.microsoft.com/office/2011/relationships/chartStyle" Target="style2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23.xml"/><Relationship Id="rId1" Type="http://schemas.microsoft.com/office/2011/relationships/chartStyle" Target="style2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24.xml"/><Relationship Id="rId1" Type="http://schemas.microsoft.com/office/2011/relationships/chartStyle" Target="style2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25.xml"/><Relationship Id="rId1" Type="http://schemas.microsoft.com/office/2011/relationships/chartStyle" Target="style2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26.xml"/><Relationship Id="rId1" Type="http://schemas.microsoft.com/office/2011/relationships/chartStyle" Target="style2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7.xml"/><Relationship Id="rId1" Type="http://schemas.microsoft.com/office/2011/relationships/chartStyle" Target="style2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8.xml"/><Relationship Id="rId1" Type="http://schemas.microsoft.com/office/2011/relationships/chartStyle" Target="style28.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9.xml"/><Relationship Id="rId1" Type="http://schemas.microsoft.com/office/2011/relationships/chartStyle" Target="style29.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30.xml"/><Relationship Id="rId1" Type="http://schemas.microsoft.com/office/2011/relationships/chartStyle" Target="style30.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31.xml"/><Relationship Id="rId1" Type="http://schemas.microsoft.com/office/2011/relationships/chartStyle" Target="style31.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32.xml"/><Relationship Id="rId1" Type="http://schemas.microsoft.com/office/2011/relationships/chartStyle" Target="style32.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C00438-FA25-4951-B264-C2F55A2CD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CA8197-DE4E-4C67-B94E-724FAD847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5622C4-38BE-46F5-A410-C856B74F3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34FB4F-523A-460D-A5D8-22D304824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80C46B-4777-47F0-84B5-F04FE4728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7E670D-E09B-4BD6-A897-90E25108A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8A0044-D656-4A6B-865B-2C3FD419D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EEB93D-F150-4750-AD22-11B64938E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603000000000001</c:v>
                </c:pt>
                <c:pt idx="1">
                  <c:v>3.282</c:v>
                </c:pt>
                <c:pt idx="2">
                  <c:v>1.67</c:v>
                </c:pt>
                <c:pt idx="3">
                  <c:v>0.71589999999999998</c:v>
                </c:pt>
                <c:pt idx="4">
                  <c:v>1.1444000000000001</c:v>
                </c:pt>
                <c:pt idx="5">
                  <c:v>3.0720000000000001</c:v>
                </c:pt>
                <c:pt idx="6">
                  <c:v>0.79069999999999996</c:v>
                </c:pt>
              </c:numCache>
            </c:numRef>
          </c:xVal>
          <c:yVal>
            <c:numRef>
              <c:f>Sheet1!$B$2:$B$8</c:f>
              <c:numCache>
                <c:formatCode>General</c:formatCode>
                <c:ptCount val="7"/>
                <c:pt idx="0">
                  <c:v>1.0129999999999999</c:v>
                </c:pt>
                <c:pt idx="1">
                  <c:v>1.4339999999999999</c:v>
                </c:pt>
                <c:pt idx="2">
                  <c:v>0.94099999999999995</c:v>
                </c:pt>
                <c:pt idx="3">
                  <c:v>0.54700000000000004</c:v>
                </c:pt>
                <c:pt idx="4">
                  <c:v>1.284</c:v>
                </c:pt>
                <c:pt idx="5">
                  <c:v>1.1180000000000001</c:v>
                </c:pt>
                <c:pt idx="6">
                  <c:v>1.139</c:v>
                </c:pt>
              </c:numCache>
            </c:numRef>
          </c:yVal>
          <c:bubbleSize>
            <c:numRef>
              <c:f>Sheet1!$C$2:$C$8</c:f>
              <c:numCache>
                <c:formatCode>General</c:formatCode>
                <c:ptCount val="7"/>
                <c:pt idx="0">
                  <c:v>101236423</c:v>
                </c:pt>
                <c:pt idx="1">
                  <c:v>14310702</c:v>
                </c:pt>
                <c:pt idx="2">
                  <c:v>14192497</c:v>
                </c:pt>
                <c:pt idx="3">
                  <c:v>12708066</c:v>
                </c:pt>
                <c:pt idx="4">
                  <c:v>12600909</c:v>
                </c:pt>
                <c:pt idx="5">
                  <c:v>11453660</c:v>
                </c:pt>
                <c:pt idx="6">
                  <c:v>4383007</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Danone</c:v>
                  </c:pt>
                  <c:pt idx="4">
                    <c:v>Alpro</c:v>
                  </c:pt>
                  <c:pt idx="5">
                    <c:v>Actimel</c:v>
                  </c:pt>
                  <c:pt idx="6">
                    <c:v>Danonin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7360D8-9EBA-40B7-8E3F-CAA90436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7983DE-6E96-4DE1-B4C0-1A73D027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AD5D056-BBF4-4501-AAF7-9DFD7BCA5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86D5C8B-8AAA-4FFD-BC8F-4A01411AC7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149D76-349B-4446-A556-5D47680DB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A5E6BC-D5FC-4321-A9FD-6D0CCE995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7983A3-28F0-4266-8D48-2DD4B85E6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F12EB5-1C2D-42B3-A19C-6374D26B1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DFF90C2-06E7-42FD-B02E-94CF63858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AE01E09-FE52-4A6A-92E6-10104C189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0FEAA74D-E01E-4AA3-B6AA-35B1BA64C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ABFC2120-F45D-489D-B752-5F8C3168C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D9EAF91D-7A51-4002-9608-ACE4F5170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565EA512-FDF3-462F-B15C-F47292E24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17D014F-7B44-48E4-8A01-AFE8D1E2E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FBD89948-402A-4E61-93CE-5EBFEC2FD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720000000000001</c:v>
                </c:pt>
                <c:pt idx="1">
                  <c:v>1.9956</c:v>
                </c:pt>
              </c:numCache>
            </c:numRef>
          </c:xVal>
          <c:yVal>
            <c:numRef>
              <c:f>Sheet1!$B$2:$B$3</c:f>
              <c:numCache>
                <c:formatCode>General</c:formatCode>
                <c:ptCount val="2"/>
                <c:pt idx="0">
                  <c:v>1.056</c:v>
                </c:pt>
                <c:pt idx="1">
                  <c:v>0.82699999999999996</c:v>
                </c:pt>
              </c:numCache>
            </c:numRef>
          </c:yVal>
          <c:bubbleSize>
            <c:numRef>
              <c:f>Sheet1!$C$2:$C$3</c:f>
              <c:numCache>
                <c:formatCode>General</c:formatCode>
                <c:ptCount val="2"/>
                <c:pt idx="0">
                  <c:v>11453660</c:v>
                </c:pt>
                <c:pt idx="1">
                  <c:v>2921868</c:v>
                </c:pt>
              </c:numCache>
            </c:numRef>
          </c:bubbleSize>
          <c:bubble3D val="0"/>
          <c:extLst>
            <c:ext xmlns:c15="http://schemas.microsoft.com/office/drawing/2012/chart" uri="{02D57815-91ED-43cb-92C2-25804820EDAC}">
              <c15:datalabelsRange>
                <c15:f>Sheet1!$E$2:$E$10</c15:f>
                <c15:dlblRangeCache>
                  <c:ptCount val="9"/>
                  <c:pt idx="0">
                    <c:v>Actimel</c:v>
                  </c:pt>
                  <c:pt idx="1">
                    <c:v>Hacendad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0CDC532-622E-4021-B41B-17F1E09AB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7B022132-B063-429E-A88F-B873F8121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8CECE439-A016-4352-B4E4-026D911C4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DCF2927E-2769-4F4B-B3CD-80F0F3784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785918C-D885-42C3-B0E6-679B3D105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2AFED19A-75D3-4C63-987F-2D268DB2F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6CDA15AD-E57E-4535-81A8-4003C455D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75D9601-0C1A-4A85-A9F3-C6DD56DDD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2730000000000001</c:v>
                </c:pt>
              </c:numCache>
            </c:numRef>
          </c:xVal>
          <c:yVal>
            <c:numRef>
              <c:f>Sheet1!$B$2:$B$2</c:f>
              <c:numCache>
                <c:formatCode>General</c:formatCode>
                <c:ptCount val="1"/>
                <c:pt idx="0">
                  <c:v>1</c:v>
                </c:pt>
              </c:numCache>
            </c:numRef>
          </c:yVal>
          <c:bubbleSize>
            <c:numRef>
              <c:f>Sheet1!$C$2:$C$2</c:f>
              <c:numCache>
                <c:formatCode>General</c:formatCode>
                <c:ptCount val="1"/>
                <c:pt idx="0">
                  <c:v>1099953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9EBBE66C-7760-4FBE-9139-AED1CB007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D972FFF7-9035-400F-9BC6-8EE03AFBC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6438AC41-4B98-4BC8-A603-FF7B97927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2F763AFD-A2DA-4604-B900-DB91EBB71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FB2B9E79-E846-43E7-9BD2-9C188378A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4834784-E810-4B4D-974F-D61370663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25FBFDB6-BA5D-419B-BD2B-BF9439A86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41BE36B1-FC2B-44A1-ABD7-9EDBC88C4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536</c:v>
                </c:pt>
                <c:pt idx="2">
                  <c:v>1.85</c:v>
                </c:pt>
              </c:numCache>
            </c:numRef>
          </c:xVal>
          <c:yVal>
            <c:numRef>
              <c:f>Sheet1!$B$2:$B$4</c:f>
              <c:numCache>
                <c:formatCode>General</c:formatCode>
                <c:ptCount val="3"/>
                <c:pt idx="0">
                  <c:v>0.90600000000000003</c:v>
                </c:pt>
                <c:pt idx="1">
                  <c:v>0.99099999999999999</c:v>
                </c:pt>
                <c:pt idx="2">
                  <c:v>1.786</c:v>
                </c:pt>
              </c:numCache>
            </c:numRef>
          </c:yVal>
          <c:bubbleSize>
            <c:numRef>
              <c:f>Sheet1!$C$2:$C$4</c:f>
              <c:numCache>
                <c:formatCode>General</c:formatCode>
                <c:ptCount val="3"/>
                <c:pt idx="0">
                  <c:v>4383007</c:v>
                </c:pt>
                <c:pt idx="1">
                  <c:v>1503722</c:v>
                </c:pt>
                <c:pt idx="2">
                  <c:v>1063778</c:v>
                </c:pt>
              </c:numCache>
            </c:numRef>
          </c:bubbleSize>
          <c:bubble3D val="0"/>
          <c:extLst>
            <c:ext xmlns:c15="http://schemas.microsoft.com/office/drawing/2012/chart" uri="{02D57815-91ED-43cb-92C2-25804820EDAC}">
              <c15:datalabelsRange>
                <c15:f>Sheet1!$E$2:$E$10</c15:f>
                <c15:dlblRangeCache>
                  <c:ptCount val="9"/>
                  <c:pt idx="0">
                    <c:v>Danonino</c:v>
                  </c:pt>
                  <c:pt idx="1">
                    <c:v>Hacendado</c:v>
                  </c:pt>
                  <c:pt idx="2">
                    <c:v>La Fageda</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D71C80-9DE4-48D1-A9B8-BABFFB0C0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AA9371C-2A35-4CDD-90F2-66BBBBEC3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4FA2E1C-519B-47EC-8904-19A3D6F72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7503927-E749-4B00-AC09-8F37CB685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AB909E-EB11-4FB0-8D4F-C3380ED57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8347CE-1EB6-44FF-B6EF-D4F19863A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4A49FA-DDFA-4E64-9EE4-84EAC481B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8C94BEB-5700-4B71-8EE5-FED71B759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3A4CBD-D605-4445-8C3E-9F7EABE41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5743F0-CFD7-4E5A-9C92-9894443A8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E5922D0-D253-461D-B8BE-2A6A7143C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7177FC7-71E7-4C1F-A663-91A59C0F2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F691A9F-009F-42BE-81CB-ECD60AF6F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A03705C-AD84-485D-9F02-61260D610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43956A4-F1CF-4899-A8B1-D2DB42FC6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5E4340-881E-47F5-81B1-1F75FB800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FE6F0A-3550-4E1A-8D66-295CB06D6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F78291CE-6B3B-4DAC-B8EC-2A0490F11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46C530F3-C021-4E9F-9181-BC7ED0861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7DE487F5-3905-4F31-842A-F21E63867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A1FEBAEF-9C14-40AA-83BB-98463BD4B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7DFA867F-45B0-4A67-AADC-12DE21BA2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66B12E31-A338-4A60-A004-44D140CDC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34DA8669-A357-42B3-8CE9-67007E99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11000000000001</c:v>
                </c:pt>
              </c:numCache>
            </c:numRef>
          </c:xVal>
          <c:yVal>
            <c:numRef>
              <c:f>Sheet1!$B$2:$B$2</c:f>
              <c:numCache>
                <c:formatCode>General</c:formatCode>
                <c:ptCount val="1"/>
                <c:pt idx="0">
                  <c:v>1</c:v>
                </c:pt>
              </c:numCache>
            </c:numRef>
          </c:yVal>
          <c:bubbleSize>
            <c:numRef>
              <c:f>Sheet1!$C$2:$C$2</c:f>
              <c:numCache>
                <c:formatCode>General</c:formatCode>
                <c:ptCount val="1"/>
                <c:pt idx="0">
                  <c:v>31982218</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BCD6587-7C5F-40D0-9E45-CE9EF67D1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4086C688-23AC-4D9F-9FAC-3A3D7FBAF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CE3884E0-F768-4B2E-A70B-9813E7162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488A148F-EBC9-4D86-9C33-B377BD01B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E93886F3-FD6A-4175-85EE-95B333586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318A2BC-9BAA-494F-BA7F-6369DF9FD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D2E7006-16D9-4031-BBFF-3431587FA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3AB02E7-7884-42FB-8703-B39236B71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c:v>
                </c:pt>
              </c:numCache>
            </c:numRef>
          </c:xVal>
          <c:yVal>
            <c:numRef>
              <c:f>Sheet1!$B$2:$B$2</c:f>
              <c:numCache>
                <c:formatCode>General</c:formatCode>
                <c:ptCount val="1"/>
                <c:pt idx="0">
                  <c:v>1</c:v>
                </c:pt>
              </c:numCache>
            </c:numRef>
          </c:yVal>
          <c:bubbleSize>
            <c:numRef>
              <c:f>Sheet1!$C$2:$C$2</c:f>
              <c:numCache>
                <c:formatCode>General</c:formatCode>
                <c:ptCount val="1"/>
                <c:pt idx="0">
                  <c:v>819001</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078075CE-22FF-45E2-A892-210994DCD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7A0708DD-20DD-4517-99C0-F905E4B5A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DDEFD2FD-CF38-4425-AE05-A5DD7706C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9FE67043-A304-441E-BA17-058C7723B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6AB15207-BEED-4C4C-A93B-33A0CA7BF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B3E92D43-1818-453D-AF70-311A9D657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2DAFF201-3C93-4291-9AFF-E6825DDDF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1DD315FC-6925-4578-9BC9-9B5F2F659E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85</c:v>
                </c:pt>
                <c:pt idx="2">
                  <c:v>1.41</c:v>
                </c:pt>
              </c:numCache>
            </c:numRef>
          </c:xVal>
          <c:yVal>
            <c:numRef>
              <c:f>Sheet1!$B$2:$B$4</c:f>
              <c:numCache>
                <c:formatCode>General</c:formatCode>
                <c:ptCount val="3"/>
                <c:pt idx="0">
                  <c:v>0.95099999999999996</c:v>
                </c:pt>
                <c:pt idx="1">
                  <c:v>1.8759999999999999</c:v>
                </c:pt>
                <c:pt idx="2">
                  <c:v>0.71499999999999997</c:v>
                </c:pt>
              </c:numCache>
            </c:numRef>
          </c:yVal>
          <c:bubbleSize>
            <c:numRef>
              <c:f>Sheet1!$C$2:$C$4</c:f>
              <c:numCache>
                <c:formatCode>General</c:formatCode>
                <c:ptCount val="3"/>
                <c:pt idx="0">
                  <c:v>4383007</c:v>
                </c:pt>
                <c:pt idx="1">
                  <c:v>1063778</c:v>
                </c:pt>
                <c:pt idx="2">
                  <c:v>684721</c:v>
                </c:pt>
              </c:numCache>
            </c:numRef>
          </c:bubbleSize>
          <c:bubble3D val="0"/>
          <c:extLst>
            <c:ext xmlns:c15="http://schemas.microsoft.com/office/drawing/2012/chart" uri="{02D57815-91ED-43cb-92C2-25804820EDAC}">
              <c15:datalabelsRange>
                <c15:f>Sheet1!$E$2:$E$10</c15:f>
                <c15:dlblRangeCache>
                  <c:ptCount val="9"/>
                  <c:pt idx="0">
                    <c:v>Danonino</c:v>
                  </c:pt>
                  <c:pt idx="1">
                    <c:v>La Fageda</c:v>
                  </c:pt>
                  <c:pt idx="2">
                    <c:v>Hacendado</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08F6FC-AB5A-46E8-B9C8-D814ABDED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394D85-BE8A-42E3-8D6A-26DB7764D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88359D-0166-43B3-B79E-70A1CC020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AA5A8C-81C0-4124-A748-BA099BA3E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CDCE51-F5EA-41C7-A802-7C15DAB94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D20571-E851-45B6-B1C1-E514F2C6B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5F8591-FE9A-4B98-AA81-FB9F0E5FB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9FDBEA7-2BC8-436C-980D-588AFB4BC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31F400-23C4-481D-9D64-193BD9F29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59E537-D045-43C6-B62A-B71E49D55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B467CC-E36E-47B7-9451-AE7EC8A3F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1B71A3-323C-4C36-9D60-2085171D6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4137D77-51EF-462B-AEBE-86DA6D84B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DC00EC-B8FD-4DF4-951B-BFDE30378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A1E19E-DE3E-43E0-9C05-D2339ECC1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1B3601-26CC-483D-B181-86FCB6C30A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682999999999999</c:v>
                </c:pt>
                <c:pt idx="1">
                  <c:v>3.282</c:v>
                </c:pt>
                <c:pt idx="2">
                  <c:v>1.67</c:v>
                </c:pt>
                <c:pt idx="3">
                  <c:v>3.0720000000000001</c:v>
                </c:pt>
              </c:numCache>
            </c:numRef>
          </c:xVal>
          <c:yVal>
            <c:numRef>
              <c:f>Sheet1!$B$2:$B$5</c:f>
              <c:numCache>
                <c:formatCode>General</c:formatCode>
                <c:ptCount val="4"/>
                <c:pt idx="0">
                  <c:v>0.92900000000000005</c:v>
                </c:pt>
                <c:pt idx="1">
                  <c:v>1.3460000000000001</c:v>
                </c:pt>
                <c:pt idx="2">
                  <c:v>0.88300000000000001</c:v>
                </c:pt>
                <c:pt idx="3">
                  <c:v>1.05</c:v>
                </c:pt>
              </c:numCache>
            </c:numRef>
          </c:yVal>
          <c:bubbleSize>
            <c:numRef>
              <c:f>Sheet1!$C$2:$C$5</c:f>
              <c:numCache>
                <c:formatCode>General</c:formatCode>
                <c:ptCount val="4"/>
                <c:pt idx="0">
                  <c:v>30808030</c:v>
                </c:pt>
                <c:pt idx="1">
                  <c:v>14310702</c:v>
                </c:pt>
                <c:pt idx="2">
                  <c:v>14192497</c:v>
                </c:pt>
                <c:pt idx="3">
                  <c:v>11453660</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Actim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B50469-97E3-415B-B37A-9E4836168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D20594-FA09-4588-B582-4BA78CE2C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6EE48-943F-4DB1-83AE-EA0C0E04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FBAF9C-2C44-4A7D-BB03-63943C8B2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0EB01C-3BAE-4000-BAEB-259E1419C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89AFBAC-64EB-479D-9DA4-5418A9168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F02B10-0C4D-4674-9232-E9A3DD472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7551DB-8F24-4DEC-8571-A034FB052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603000000000001</c:v>
                </c:pt>
                <c:pt idx="1">
                  <c:v>3.282</c:v>
                </c:pt>
                <c:pt idx="2">
                  <c:v>1.67</c:v>
                </c:pt>
                <c:pt idx="3">
                  <c:v>0.71589999999999998</c:v>
                </c:pt>
                <c:pt idx="4">
                  <c:v>1.1444000000000001</c:v>
                </c:pt>
                <c:pt idx="5">
                  <c:v>3.0720000000000001</c:v>
                </c:pt>
                <c:pt idx="6">
                  <c:v>0.79069999999999996</c:v>
                </c:pt>
              </c:numCache>
            </c:numRef>
          </c:xVal>
          <c:yVal>
            <c:numRef>
              <c:f>Sheet1!$B$2:$B$8</c:f>
              <c:numCache>
                <c:formatCode>General</c:formatCode>
                <c:ptCount val="7"/>
                <c:pt idx="0">
                  <c:v>1.0129999999999999</c:v>
                </c:pt>
                <c:pt idx="1">
                  <c:v>1.4339999999999999</c:v>
                </c:pt>
                <c:pt idx="2">
                  <c:v>0.94099999999999995</c:v>
                </c:pt>
                <c:pt idx="3">
                  <c:v>0.54700000000000004</c:v>
                </c:pt>
                <c:pt idx="4">
                  <c:v>1.284</c:v>
                </c:pt>
                <c:pt idx="5">
                  <c:v>1.1180000000000001</c:v>
                </c:pt>
                <c:pt idx="6">
                  <c:v>1.139</c:v>
                </c:pt>
              </c:numCache>
            </c:numRef>
          </c:yVal>
          <c:bubbleSize>
            <c:numRef>
              <c:f>Sheet1!$C$2:$C$8</c:f>
              <c:numCache>
                <c:formatCode>General</c:formatCode>
                <c:ptCount val="7"/>
                <c:pt idx="0">
                  <c:v>101236423</c:v>
                </c:pt>
                <c:pt idx="1">
                  <c:v>14310702</c:v>
                </c:pt>
                <c:pt idx="2">
                  <c:v>14192497</c:v>
                </c:pt>
                <c:pt idx="3">
                  <c:v>12708066</c:v>
                </c:pt>
                <c:pt idx="4">
                  <c:v>12600909</c:v>
                </c:pt>
                <c:pt idx="5">
                  <c:v>11453660</c:v>
                </c:pt>
                <c:pt idx="6">
                  <c:v>4383007</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Danone</c:v>
                  </c:pt>
                  <c:pt idx="4">
                    <c:v>Alpro</c:v>
                  </c:pt>
                  <c:pt idx="5">
                    <c:v>Actimel</c:v>
                  </c:pt>
                  <c:pt idx="6">
                    <c:v>Danonin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116151-0EDB-4179-9B4F-DAA65B397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F96B70-78B5-4267-8857-960A6F156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FB5DF7-38A8-4C7E-B6F6-FEA8430DD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C7EE6B-73B9-4C0F-8510-CFE1D0E88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FBF39D-2812-4B73-A625-7E435032F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B38EE5-F614-4564-B5F8-010612E2B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A3E380A-725D-4BE0-A347-7F7ECAC2F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4405AF-BD21-4132-9686-2BB870221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682999999999999</c:v>
                </c:pt>
                <c:pt idx="1">
                  <c:v>3.282</c:v>
                </c:pt>
                <c:pt idx="2">
                  <c:v>1.67</c:v>
                </c:pt>
                <c:pt idx="3">
                  <c:v>3.0720000000000001</c:v>
                </c:pt>
              </c:numCache>
            </c:numRef>
          </c:xVal>
          <c:yVal>
            <c:numRef>
              <c:f>Sheet1!$B$2:$B$5</c:f>
              <c:numCache>
                <c:formatCode>General</c:formatCode>
                <c:ptCount val="4"/>
                <c:pt idx="0">
                  <c:v>0.92900000000000005</c:v>
                </c:pt>
                <c:pt idx="1">
                  <c:v>1.3460000000000001</c:v>
                </c:pt>
                <c:pt idx="2">
                  <c:v>0.88300000000000001</c:v>
                </c:pt>
                <c:pt idx="3">
                  <c:v>1.05</c:v>
                </c:pt>
              </c:numCache>
            </c:numRef>
          </c:yVal>
          <c:bubbleSize>
            <c:numRef>
              <c:f>Sheet1!$C$2:$C$5</c:f>
              <c:numCache>
                <c:formatCode>General</c:formatCode>
                <c:ptCount val="4"/>
                <c:pt idx="0">
                  <c:v>30808030</c:v>
                </c:pt>
                <c:pt idx="1">
                  <c:v>14310702</c:v>
                </c:pt>
                <c:pt idx="2">
                  <c:v>14192497</c:v>
                </c:pt>
                <c:pt idx="3">
                  <c:v>11453660</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Actim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3797CA-72FD-4CE8-A0C8-771E1D0F4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DD29EF-0E5C-4787-B7CE-EF1713087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B014F-0C15-4D2E-AE6C-4BC68B06E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D876E9-76B5-464E-8C5D-601052E4B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F33EBB3-2DA8-4A71-A124-3F1BFBFD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9635B8-598A-4C26-8A4A-A3F541A07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5D0BFA8-AEEF-495B-9A77-9ACA57ACA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D77441-681A-46BF-976B-32A72A590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174000000000001</c:v>
                </c:pt>
                <c:pt idx="1">
                  <c:v>0.71589999999999998</c:v>
                </c:pt>
                <c:pt idx="2">
                  <c:v>0.79069999999999996</c:v>
                </c:pt>
                <c:pt idx="3">
                  <c:v>1.85</c:v>
                </c:pt>
              </c:numCache>
            </c:numRef>
          </c:xVal>
          <c:yVal>
            <c:numRef>
              <c:f>Sheet1!$B$2:$B$5</c:f>
              <c:numCache>
                <c:formatCode>General</c:formatCode>
                <c:ptCount val="4"/>
                <c:pt idx="0">
                  <c:v>1.069</c:v>
                </c:pt>
                <c:pt idx="1">
                  <c:v>0.68100000000000005</c:v>
                </c:pt>
                <c:pt idx="2">
                  <c:v>1.4179999999999999</c:v>
                </c:pt>
                <c:pt idx="3">
                  <c:v>2.794</c:v>
                </c:pt>
              </c:numCache>
            </c:numRef>
          </c:yVal>
          <c:bubbleSize>
            <c:numRef>
              <c:f>Sheet1!$C$2:$C$5</c:f>
              <c:numCache>
                <c:formatCode>General</c:formatCode>
                <c:ptCount val="4"/>
                <c:pt idx="0">
                  <c:v>47585788</c:v>
                </c:pt>
                <c:pt idx="1">
                  <c:v>12708066</c:v>
                </c:pt>
                <c:pt idx="2">
                  <c:v>4383007</c:v>
                </c:pt>
                <c:pt idx="3">
                  <c:v>1063778</c:v>
                </c:pt>
              </c:numCache>
            </c:numRef>
          </c:bubbleSize>
          <c:bubble3D val="0"/>
          <c:extLst>
            <c:ext xmlns:c15="http://schemas.microsoft.com/office/drawing/2012/chart" uri="{02D57815-91ED-43cb-92C2-25804820EDAC}">
              <c15:datalabelsRange>
                <c15:f>Sheet1!$E$2:$E$10</c15:f>
                <c15:dlblRangeCache>
                  <c:ptCount val="9"/>
                  <c:pt idx="0">
                    <c:v>Hacendado</c:v>
                  </c:pt>
                  <c:pt idx="1">
                    <c:v>Danone</c:v>
                  </c:pt>
                  <c:pt idx="2">
                    <c:v>Danonino</c:v>
                  </c:pt>
                  <c:pt idx="3">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47A5BF-6F3A-4ED8-8559-304B12E00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360D4B-58B8-4E9A-A844-DFAF7E69D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5DFB53-05A0-4BDB-90F2-346D73E25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5E83B29-B97C-4F9C-9C05-5035E7F99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CA2160-0967-4035-887B-C7D5F7506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9A3489-BE2F-4177-872E-D20CAA5D3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921D6A-4091-4D96-A058-6F0899ADE4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606E55-2585-416D-B951-0928CF750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444000000000001</c:v>
                </c:pt>
                <c:pt idx="1">
                  <c:v>1.4240999999999999</c:v>
                </c:pt>
              </c:numCache>
            </c:numRef>
          </c:xVal>
          <c:yVal>
            <c:numRef>
              <c:f>Sheet1!$B$2:$B$3</c:f>
              <c:numCache>
                <c:formatCode>General</c:formatCode>
                <c:ptCount val="2"/>
                <c:pt idx="0">
                  <c:v>0.98899999999999999</c:v>
                </c:pt>
                <c:pt idx="1">
                  <c:v>1.1970000000000001</c:v>
                </c:pt>
              </c:numCache>
            </c:numRef>
          </c:yVal>
          <c:bubbleSize>
            <c:numRef>
              <c:f>Sheet1!$C$2:$C$3</c:f>
              <c:numCache>
                <c:formatCode>General</c:formatCode>
                <c:ptCount val="2"/>
                <c:pt idx="0">
                  <c:v>12600909</c:v>
                </c:pt>
                <c:pt idx="1">
                  <c:v>884286</c:v>
                </c:pt>
              </c:numCache>
            </c:numRef>
          </c:bubbleSize>
          <c:bubble3D val="0"/>
          <c:extLst>
            <c:ext xmlns:c15="http://schemas.microsoft.com/office/drawing/2012/chart" uri="{02D57815-91ED-43cb-92C2-25804820EDAC}">
              <c15:datalabelsRange>
                <c15:f>Sheet1!$E$2:$E$10</c15:f>
                <c15:dlblRangeCache>
                  <c:ptCount val="9"/>
                  <c:pt idx="0">
                    <c:v>Alpro</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A02C64-4FFC-4D62-B526-95F5EB0D1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3581299-29AD-4783-82B9-AB14C4AC6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89EAFB6-8389-4225-B5A3-CE03704EF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44F18C-DCF7-4FC4-AF22-A99A23A8A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A6EF9C9-C811-4116-BAFE-740FAF169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86B61F-A8A3-4641-9116-158802970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ACBB5DC-41D3-4C84-8C8A-151E9980B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20D759-F52E-4DFA-839F-7A6D73186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63000000000001</c:v>
                </c:pt>
              </c:numCache>
            </c:numRef>
          </c:xVal>
          <c:yVal>
            <c:numRef>
              <c:f>Sheet1!$B$2:$B$2</c:f>
              <c:numCache>
                <c:formatCode>General</c:formatCode>
                <c:ptCount val="1"/>
                <c:pt idx="0">
                  <c:v>1</c:v>
                </c:pt>
              </c:numCache>
            </c:numRef>
          </c:yVal>
          <c:bubbleSize>
            <c:numRef>
              <c:f>Sheet1!$C$2:$C$2</c:f>
              <c:numCache>
                <c:formatCode>General</c:formatCode>
                <c:ptCount val="1"/>
                <c:pt idx="0">
                  <c:v>2195831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8F76E8-6854-4F39-A7BF-CF89F5676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D52C94-6C82-4152-8F57-1E91F7067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C104292-1A8F-437F-B5BE-0FCAB79D6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406CD3-D3DA-4231-95BF-56FD67205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7C38852-0D4B-457E-851B-C798C2E4E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89FA35-2B2D-40C7-AC47-7EB18790B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0C72E6-804E-4E74-BEF6-F161C21CA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167027-050F-423A-88FF-D28A37356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161999999999999</c:v>
                </c:pt>
                <c:pt idx="1">
                  <c:v>1.67</c:v>
                </c:pt>
              </c:numCache>
            </c:numRef>
          </c:xVal>
          <c:yVal>
            <c:numRef>
              <c:f>Sheet1!$B$2:$B$3</c:f>
              <c:numCache>
                <c:formatCode>General</c:formatCode>
                <c:ptCount val="2"/>
                <c:pt idx="0">
                  <c:v>0.94299999999999995</c:v>
                </c:pt>
                <c:pt idx="1">
                  <c:v>1.0680000000000001</c:v>
                </c:pt>
              </c:numCache>
            </c:numRef>
          </c:yVal>
          <c:bubbleSize>
            <c:numRef>
              <c:f>Sheet1!$C$2:$C$3</c:f>
              <c:numCache>
                <c:formatCode>General</c:formatCode>
                <c:ptCount val="2"/>
                <c:pt idx="0">
                  <c:v>14863059</c:v>
                </c:pt>
                <c:pt idx="1">
                  <c:v>14192497</c:v>
                </c:pt>
              </c:numCache>
            </c:numRef>
          </c:bubbleSize>
          <c:bubble3D val="0"/>
          <c:extLst>
            <c:ext xmlns:c15="http://schemas.microsoft.com/office/drawing/2012/chart" uri="{02D57815-91ED-43cb-92C2-25804820EDAC}">
              <c15:datalabelsRange>
                <c15:f>Sheet1!$E$2:$E$10</c15:f>
                <c15:dlblRangeCache>
                  <c:ptCount val="9"/>
                  <c:pt idx="0">
                    <c:v>Hacendado</c:v>
                  </c:pt>
                  <c:pt idx="1">
                    <c:v>Activ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097E26-FB4B-4F48-BBDC-2B083806F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CB9D48-C296-4BA7-A645-9EBB20551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8720924-3A74-4700-8B64-9E1AAB3C0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C08AAFC-CF2D-4DBA-8AC9-E38B05C5C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D2EDF9-A27D-4F5B-AE30-1D5E5B263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0CA377-3034-43C0-92DE-B25B49622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A597FC7-9E2F-4778-839C-FE4DE5793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28D612C-B1DA-4784-9FCF-40A3D83BF7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282</c:v>
                </c:pt>
                <c:pt idx="1">
                  <c:v>2.46</c:v>
                </c:pt>
              </c:numCache>
            </c:numRef>
          </c:xVal>
          <c:yVal>
            <c:numRef>
              <c:f>Sheet1!$B$2:$B$3</c:f>
              <c:numCache>
                <c:formatCode>General</c:formatCode>
                <c:ptCount val="2"/>
                <c:pt idx="0">
                  <c:v>1.008</c:v>
                </c:pt>
                <c:pt idx="1">
                  <c:v>0.94499999999999995</c:v>
                </c:pt>
              </c:numCache>
            </c:numRef>
          </c:yVal>
          <c:bubbleSize>
            <c:numRef>
              <c:f>Sheet1!$C$2:$C$3</c:f>
              <c:numCache>
                <c:formatCode>General</c:formatCode>
                <c:ptCount val="2"/>
                <c:pt idx="0">
                  <c:v>14310702</c:v>
                </c:pt>
                <c:pt idx="1">
                  <c:v>2023564</c:v>
                </c:pt>
              </c:numCache>
            </c:numRef>
          </c:bubbleSize>
          <c:bubble3D val="0"/>
          <c:extLst>
            <c:ext xmlns:c15="http://schemas.microsoft.com/office/drawing/2012/chart" uri="{02D57815-91ED-43cb-92C2-25804820EDAC}">
              <c15:datalabelsRange>
                <c15:f>Sheet1!$E$2:$E$10</c15:f>
                <c15:dlblRangeCache>
                  <c:ptCount val="9"/>
                  <c:pt idx="0">
                    <c:v>Danacol</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010873-5C6A-42AC-A9A9-93320F53D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68ABF7-37FB-476E-896D-435D4A7D9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1A9DFD8-C97E-4E2D-8040-F56FEC1B0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6E57E92-BFA6-49CF-9AC2-1F2566FC3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1959318-D023-4AEE-AFE4-31D163471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05AC1FF-ED18-4A0A-9417-11B3CA9A8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977235-DFDE-43DF-89F4-FE352F05F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1E282D-FE68-4172-8561-EBA382C57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E3721B-62B4-471F-9BF4-E34B86A5F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5DEAE1-E734-479C-932F-5E1D90F98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CFF75DC-EBE4-49AB-9935-E6BCA20DF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492ABF5-D8EA-4F57-8939-BF8731CA3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B0E9CD-16DB-4424-9714-74FE472C7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8B5974-C748-49E1-810E-D4AA0E3BA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322960-576E-4E16-8731-8A8F84C2D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9F3422-49F0-4F1A-84AB-88FBA7819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720000000000001</c:v>
                </c:pt>
                <c:pt idx="1">
                  <c:v>1.9956</c:v>
                </c:pt>
              </c:numCache>
            </c:numRef>
          </c:xVal>
          <c:yVal>
            <c:numRef>
              <c:f>Sheet1!$B$2:$B$3</c:f>
              <c:numCache>
                <c:formatCode>General</c:formatCode>
                <c:ptCount val="2"/>
                <c:pt idx="0">
                  <c:v>1.056</c:v>
                </c:pt>
                <c:pt idx="1">
                  <c:v>0.82699999999999996</c:v>
                </c:pt>
              </c:numCache>
            </c:numRef>
          </c:yVal>
          <c:bubbleSize>
            <c:numRef>
              <c:f>Sheet1!$C$2:$C$3</c:f>
              <c:numCache>
                <c:formatCode>General</c:formatCode>
                <c:ptCount val="2"/>
                <c:pt idx="0">
                  <c:v>11453660</c:v>
                </c:pt>
                <c:pt idx="1">
                  <c:v>2921868</c:v>
                </c:pt>
              </c:numCache>
            </c:numRef>
          </c:bubbleSize>
          <c:bubble3D val="0"/>
          <c:extLst>
            <c:ext xmlns:c15="http://schemas.microsoft.com/office/drawing/2012/chart" uri="{02D57815-91ED-43cb-92C2-25804820EDAC}">
              <c15:datalabelsRange>
                <c15:f>Sheet1!$E$2:$E$10</c15:f>
                <c15:dlblRangeCache>
                  <c:ptCount val="9"/>
                  <c:pt idx="0">
                    <c:v>Actimel</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9CCFE7-3877-4C2D-BF55-453F2A9BB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E5ED12A-2F98-4A3B-8C10-FCC26EB0A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B2EE38E-88D9-4BA0-ADDA-0EB8BC4EE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EC11F35-0902-4BA6-ACD5-35BD325BF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E49F903-88BE-4A26-BE5B-765EFD594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6B5268A-F906-401C-B78D-2ECABBE3B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84F987-6727-440F-BB92-B0B5F42DE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A9445C-915D-439F-A654-AAA4A00A0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2730000000000001</c:v>
                </c:pt>
              </c:numCache>
            </c:numRef>
          </c:xVal>
          <c:yVal>
            <c:numRef>
              <c:f>Sheet1!$B$2:$B$2</c:f>
              <c:numCache>
                <c:formatCode>General</c:formatCode>
                <c:ptCount val="1"/>
                <c:pt idx="0">
                  <c:v>1</c:v>
                </c:pt>
              </c:numCache>
            </c:numRef>
          </c:yVal>
          <c:bubbleSize>
            <c:numRef>
              <c:f>Sheet1!$C$2:$C$2</c:f>
              <c:numCache>
                <c:formatCode>General</c:formatCode>
                <c:ptCount val="1"/>
                <c:pt idx="0">
                  <c:v>1099953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642FE81-AE11-4489-9EBD-503846ACE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F5CFECB-93A4-47C9-9062-9C8B708FD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7890CCC-C11A-4407-952A-78B8B6299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98F76B6-196F-4B44-AD82-295B3CD93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87EA8447-D27D-4C7C-B028-371A9039E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EB4AA0C-05D7-4D60-BA46-F891411CCF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7754FC1-4856-4F37-8B89-CF016F50D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9117458-EF8E-4F81-9C3B-B41BB4240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174000000000001</c:v>
                </c:pt>
                <c:pt idx="1">
                  <c:v>0.71589999999999998</c:v>
                </c:pt>
                <c:pt idx="2">
                  <c:v>0.79069999999999996</c:v>
                </c:pt>
                <c:pt idx="3">
                  <c:v>1.85</c:v>
                </c:pt>
              </c:numCache>
            </c:numRef>
          </c:xVal>
          <c:yVal>
            <c:numRef>
              <c:f>Sheet1!$B$2:$B$5</c:f>
              <c:numCache>
                <c:formatCode>General</c:formatCode>
                <c:ptCount val="4"/>
                <c:pt idx="0">
                  <c:v>1.069</c:v>
                </c:pt>
                <c:pt idx="1">
                  <c:v>0.68100000000000005</c:v>
                </c:pt>
                <c:pt idx="2">
                  <c:v>1.4179999999999999</c:v>
                </c:pt>
                <c:pt idx="3">
                  <c:v>2.794</c:v>
                </c:pt>
              </c:numCache>
            </c:numRef>
          </c:yVal>
          <c:bubbleSize>
            <c:numRef>
              <c:f>Sheet1!$C$2:$C$5</c:f>
              <c:numCache>
                <c:formatCode>General</c:formatCode>
                <c:ptCount val="4"/>
                <c:pt idx="0">
                  <c:v>47585788</c:v>
                </c:pt>
                <c:pt idx="1">
                  <c:v>12708066</c:v>
                </c:pt>
                <c:pt idx="2">
                  <c:v>4383007</c:v>
                </c:pt>
                <c:pt idx="3">
                  <c:v>1063778</c:v>
                </c:pt>
              </c:numCache>
            </c:numRef>
          </c:bubbleSize>
          <c:bubble3D val="0"/>
          <c:extLst>
            <c:ext xmlns:c15="http://schemas.microsoft.com/office/drawing/2012/chart" uri="{02D57815-91ED-43cb-92C2-25804820EDAC}">
              <c15:datalabelsRange>
                <c15:f>Sheet1!$E$2:$E$10</c15:f>
                <c15:dlblRangeCache>
                  <c:ptCount val="9"/>
                  <c:pt idx="0">
                    <c:v>Hacendado</c:v>
                  </c:pt>
                  <c:pt idx="1">
                    <c:v>Danone</c:v>
                  </c:pt>
                  <c:pt idx="2">
                    <c:v>Danonino</c:v>
                  </c:pt>
                  <c:pt idx="3">
                    <c:v>La Fageda</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FC0602-DD80-4B41-960D-4082955E3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3EA1DA-620E-46F5-A7D3-15C2FD2EB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A36288-F147-4D42-A91C-2512669CD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81E73F8-9D2B-4985-93B9-3EE105EC7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6E65847-ADA2-4FA9-BEBC-2B5F9DDF0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7600ED3-39C3-4B8C-9BE0-F4FDDFF59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FFCB83-7764-498E-8D5B-F600C824F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5654C2-42D2-407B-AB84-992D981B2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536</c:v>
                </c:pt>
                <c:pt idx="2">
                  <c:v>1.85</c:v>
                </c:pt>
              </c:numCache>
            </c:numRef>
          </c:xVal>
          <c:yVal>
            <c:numRef>
              <c:f>Sheet1!$B$2:$B$4</c:f>
              <c:numCache>
                <c:formatCode>General</c:formatCode>
                <c:ptCount val="3"/>
                <c:pt idx="0">
                  <c:v>0.90600000000000003</c:v>
                </c:pt>
                <c:pt idx="1">
                  <c:v>0.99099999999999999</c:v>
                </c:pt>
                <c:pt idx="2">
                  <c:v>1.786</c:v>
                </c:pt>
              </c:numCache>
            </c:numRef>
          </c:yVal>
          <c:bubbleSize>
            <c:numRef>
              <c:f>Sheet1!$C$2:$C$4</c:f>
              <c:numCache>
                <c:formatCode>General</c:formatCode>
                <c:ptCount val="3"/>
                <c:pt idx="0">
                  <c:v>4383007</c:v>
                </c:pt>
                <c:pt idx="1">
                  <c:v>1503722</c:v>
                </c:pt>
                <c:pt idx="2">
                  <c:v>1063778</c:v>
                </c:pt>
              </c:numCache>
            </c:numRef>
          </c:bubbleSize>
          <c:bubble3D val="0"/>
          <c:extLst>
            <c:ext xmlns:c15="http://schemas.microsoft.com/office/drawing/2012/chart" uri="{02D57815-91ED-43cb-92C2-25804820EDAC}">
              <c15:datalabelsRange>
                <c15:f>Sheet1!$E$2:$E$10</c15:f>
                <c15:dlblRangeCache>
                  <c:ptCount val="9"/>
                  <c:pt idx="0">
                    <c:v>Danonino</c:v>
                  </c:pt>
                  <c:pt idx="1">
                    <c:v>Hacendado</c:v>
                  </c:pt>
                  <c:pt idx="2">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4723E6-86AF-4FDF-96E7-78662DE81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10F18F7-7574-4585-8F5A-91EB1EBB4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3F2B1BA-1C36-4EFE-A430-29FDEBBE2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E42669-D703-44D0-A28B-162BDFA8A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333DB25-8B0F-4677-84BA-30E00E2D3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689004A-1F15-4583-881F-914959A48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6E3498-2F75-48A6-83AE-7EC74F23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92308F-0D97-4977-B1F2-D161E7788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444AF9-A0EE-40B8-8435-F0522EB55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87CE0D-017B-4CB3-99B3-A40465C36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3F3B982-6040-4BE6-A30E-857E4E623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F86242E-4CD6-4F50-9E81-292A6608A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94304A3-5F85-4889-B68C-6B7EA30DF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B0FD287-756C-43A8-A957-4C2D277B3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0182DB-2A57-4257-AA36-769DD7044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6FA34C6-E377-4D47-A69D-C59D28317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5432C1-D878-49D2-A0B3-CA9343CA2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1A979B8-DF61-44B3-8A75-5B2681BFB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7AF0550-AC8B-40F8-A172-DFDCF8778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936057-7964-4DFE-8E41-FFF63F520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BB70AE2-CEE6-4437-A6E5-BECBB5F88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3207D46-0E89-4B9C-AF58-5B0708D7B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D0E0CC-FA93-456C-BE6F-C2FFA7CD6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8AA9EAB-5ED5-44AB-B399-57121F044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11000000000001</c:v>
                </c:pt>
              </c:numCache>
            </c:numRef>
          </c:xVal>
          <c:yVal>
            <c:numRef>
              <c:f>Sheet1!$B$2:$B$2</c:f>
              <c:numCache>
                <c:formatCode>General</c:formatCode>
                <c:ptCount val="1"/>
                <c:pt idx="0">
                  <c:v>1</c:v>
                </c:pt>
              </c:numCache>
            </c:numRef>
          </c:yVal>
          <c:bubbleSize>
            <c:numRef>
              <c:f>Sheet1!$C$2:$C$2</c:f>
              <c:numCache>
                <c:formatCode>General</c:formatCode>
                <c:ptCount val="1"/>
                <c:pt idx="0">
                  <c:v>31982218</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7CECEA-3F9C-4A1B-A987-54325F847B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1D24855-0AD5-4913-8B71-01ACD2098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512422D-2935-42C6-9DB8-8CF2756EA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9036C25-3C34-4979-8184-F5CA89B8A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6ACDBD3-034B-43B8-B3E3-B3C7CE68F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4B185C-53DF-4A1A-9CDC-15338AB9C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BAFF7C-1E6D-416E-BC5D-C92D6BA04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D3F7A9D-73DC-47F5-B86D-0A7E94B38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c:v>
                </c:pt>
              </c:numCache>
            </c:numRef>
          </c:xVal>
          <c:yVal>
            <c:numRef>
              <c:f>Sheet1!$B$2:$B$2</c:f>
              <c:numCache>
                <c:formatCode>General</c:formatCode>
                <c:ptCount val="1"/>
                <c:pt idx="0">
                  <c:v>1</c:v>
                </c:pt>
              </c:numCache>
            </c:numRef>
          </c:yVal>
          <c:bubbleSize>
            <c:numRef>
              <c:f>Sheet1!$C$2:$C$2</c:f>
              <c:numCache>
                <c:formatCode>General</c:formatCode>
                <c:ptCount val="1"/>
                <c:pt idx="0">
                  <c:v>819001</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1421E6-FDE6-4355-A1BD-3031B04D4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E4ED61-8C8B-4DBE-A0D9-C53130898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A4BB8B-F5AE-4D94-BF98-04C5C10D6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9C7789-4FE4-4E2F-BD48-CE5C66F65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AE4BD42-D59D-4496-98F1-DDD0A006E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087DD67-1F26-4AA8-A934-537607D9A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4F6391-C084-4238-B4E9-7E17D70B3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F6D2BD-1051-46B0-A2E1-C5E111BFA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85</c:v>
                </c:pt>
                <c:pt idx="2">
                  <c:v>1.41</c:v>
                </c:pt>
              </c:numCache>
            </c:numRef>
          </c:xVal>
          <c:yVal>
            <c:numRef>
              <c:f>Sheet1!$B$2:$B$4</c:f>
              <c:numCache>
                <c:formatCode>General</c:formatCode>
                <c:ptCount val="3"/>
                <c:pt idx="0">
                  <c:v>0.95099999999999996</c:v>
                </c:pt>
                <c:pt idx="1">
                  <c:v>1.8759999999999999</c:v>
                </c:pt>
                <c:pt idx="2">
                  <c:v>0.71499999999999997</c:v>
                </c:pt>
              </c:numCache>
            </c:numRef>
          </c:yVal>
          <c:bubbleSize>
            <c:numRef>
              <c:f>Sheet1!$C$2:$C$4</c:f>
              <c:numCache>
                <c:formatCode>General</c:formatCode>
                <c:ptCount val="3"/>
                <c:pt idx="0">
                  <c:v>4383007</c:v>
                </c:pt>
                <c:pt idx="1">
                  <c:v>1063778</c:v>
                </c:pt>
                <c:pt idx="2">
                  <c:v>684721</c:v>
                </c:pt>
              </c:numCache>
            </c:numRef>
          </c:bubbleSize>
          <c:bubble3D val="0"/>
          <c:extLst>
            <c:ext xmlns:c15="http://schemas.microsoft.com/office/drawing/2012/chart" uri="{02D57815-91ED-43cb-92C2-25804820EDAC}">
              <c15:datalabelsRange>
                <c15:f>Sheet1!$E$2:$E$10</c15:f>
                <c15:dlblRangeCache>
                  <c:ptCount val="9"/>
                  <c:pt idx="0">
                    <c:v>Danonino</c:v>
                  </c:pt>
                  <c:pt idx="1">
                    <c:v>La Fageda</c:v>
                  </c:pt>
                  <c:pt idx="2">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FCFA33-0AF4-4151-B091-293A640F2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1466B80-D07C-4C0F-9350-F36FC7BEA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5F73717-E2D5-4824-9B7B-F660BB9E8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01D226E-75A1-4F25-B67F-AF7659F5B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5A9FCA8-13FB-4AC5-B01A-8864F075C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5A2ED8-9EEF-485B-B1BF-2F658C0E6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92C02A-F929-4850-8D4F-7704FF8AA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1874FA-63C7-42BD-8678-E3917829C5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E010A2-169E-49F9-98EF-1C5F698BD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63A367-F214-413A-B60C-110E56A7E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7AF514-B83E-49BA-9909-2FAE48C2F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89B4AC-2D46-44F4-A106-C3E131F34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AEB6A50-F93C-42B5-8CB1-92D46F824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38B02F4-8D1D-4328-B50F-9AD929457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5368DD-3497-4EDE-BBFC-FAFEF5E9F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981664-1C19-4D0E-A277-28A29A93C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603000000000001</c:v>
                </c:pt>
                <c:pt idx="1">
                  <c:v>1.3686</c:v>
                </c:pt>
                <c:pt idx="2">
                  <c:v>1.89</c:v>
                </c:pt>
              </c:numCache>
            </c:numRef>
          </c:xVal>
          <c:yVal>
            <c:numRef>
              <c:f>Sheet1!$B$2:$B$4</c:f>
              <c:numCache>
                <c:formatCode>General</c:formatCode>
                <c:ptCount val="3"/>
                <c:pt idx="0">
                  <c:v>1.0129999999999999</c:v>
                </c:pt>
                <c:pt idx="1">
                  <c:v>0.96499999999999997</c:v>
                </c:pt>
                <c:pt idx="2">
                  <c:v>1.651</c:v>
                </c:pt>
              </c:numCache>
            </c:numRef>
          </c:yVal>
          <c:bubbleSize>
            <c:numRef>
              <c:f>Sheet1!$C$2:$C$4</c:f>
              <c:numCache>
                <c:formatCode>General</c:formatCode>
                <c:ptCount val="3"/>
                <c:pt idx="0">
                  <c:v>101236423</c:v>
                </c:pt>
                <c:pt idx="1">
                  <c:v>69648841</c:v>
                </c:pt>
                <c:pt idx="2">
                  <c:v>1770752</c:v>
                </c:pt>
              </c:numCache>
            </c:numRef>
          </c:bubbleSize>
          <c:bubble3D val="0"/>
          <c:extLst>
            <c:ext xmlns:c15="http://schemas.microsoft.com/office/drawing/2012/chart" uri="{02D57815-91ED-43cb-92C2-25804820EDAC}">
              <c15:datalabelsRange>
                <c15:f>Sheet1!$E$2:$E$10</c15:f>
                <c15:dlblRangeCache>
                  <c:ptCount val="9"/>
                  <c:pt idx="0">
                    <c:v>Hacendado</c:v>
                  </c:pt>
                  <c:pt idx="1">
                    <c:v>Danone Group</c:v>
                  </c:pt>
                  <c:pt idx="2">
                    <c:v>Nest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9EF10-5F46-48FF-A921-04F7C1F1A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DFE84C-63F4-4AE1-A739-542B11636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852CE9A-74B5-4978-9720-34A2A974E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9C18A9F-C079-49EF-9F8F-B7BECB67A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FBADCD-FCC1-4152-BB62-45D77E531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417DB7-5427-43FF-AE39-48E4C55C1B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D96E743-CA0E-4691-BDD0-E6F5C62D3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83B27A-BC85-475E-BFCD-9B0D1B8D6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089</c:v>
                </c:pt>
                <c:pt idx="1">
                  <c:v>1.1682999999999999</c:v>
                </c:pt>
              </c:numCache>
            </c:numRef>
          </c:xVal>
          <c:yVal>
            <c:numRef>
              <c:f>Sheet1!$B$2:$B$3</c:f>
              <c:numCache>
                <c:formatCode>General</c:formatCode>
                <c:ptCount val="2"/>
                <c:pt idx="0">
                  <c:v>1.0620000000000001</c:v>
                </c:pt>
                <c:pt idx="1">
                  <c:v>0.92900000000000005</c:v>
                </c:pt>
              </c:numCache>
            </c:numRef>
          </c:yVal>
          <c:bubbleSize>
            <c:numRef>
              <c:f>Sheet1!$C$2:$C$3</c:f>
              <c:numCache>
                <c:formatCode>General</c:formatCode>
                <c:ptCount val="2"/>
                <c:pt idx="0">
                  <c:v>39956859</c:v>
                </c:pt>
                <c:pt idx="1">
                  <c:v>30808030</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08214B-A1DF-4B56-B8E7-8216AC158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0F9880-2D65-4915-BA10-A54E917D6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EDB06-ECF0-439C-B232-562A4476D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67D165-6A9F-4DB0-A6DA-0C5BC70D0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31BDE1E-A91F-41C1-8E57-D904A610F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0112E0-DA20-4F81-B843-09E833100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A83066-FBBC-4474-B3C7-EB38CF160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71061D-8E0A-491A-829E-2E7E32EFC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174000000000001</c:v>
                </c:pt>
                <c:pt idx="1">
                  <c:v>0.73370000000000002</c:v>
                </c:pt>
                <c:pt idx="2">
                  <c:v>1.89</c:v>
                </c:pt>
                <c:pt idx="3">
                  <c:v>1.85</c:v>
                </c:pt>
              </c:numCache>
            </c:numRef>
          </c:xVal>
          <c:yVal>
            <c:numRef>
              <c:f>Sheet1!$B$2:$B$5</c:f>
              <c:numCache>
                <c:formatCode>General</c:formatCode>
                <c:ptCount val="4"/>
                <c:pt idx="0">
                  <c:v>1.069</c:v>
                </c:pt>
                <c:pt idx="1">
                  <c:v>0.78600000000000003</c:v>
                </c:pt>
                <c:pt idx="2">
                  <c:v>2.0550000000000002</c:v>
                </c:pt>
                <c:pt idx="3">
                  <c:v>2.794</c:v>
                </c:pt>
              </c:numCache>
            </c:numRef>
          </c:yVal>
          <c:bubbleSize>
            <c:numRef>
              <c:f>Sheet1!$C$2:$C$5</c:f>
              <c:numCache>
                <c:formatCode>General</c:formatCode>
                <c:ptCount val="4"/>
                <c:pt idx="0">
                  <c:v>47585788</c:v>
                </c:pt>
                <c:pt idx="1">
                  <c:v>17091073</c:v>
                </c:pt>
                <c:pt idx="2">
                  <c:v>1770752</c:v>
                </c:pt>
                <c:pt idx="3">
                  <c:v>1063778</c:v>
                </c:pt>
              </c:numCache>
            </c:numRef>
          </c:bubbleSize>
          <c:bubble3D val="0"/>
          <c:extLst>
            <c:ext xmlns:c15="http://schemas.microsoft.com/office/drawing/2012/chart" uri="{02D57815-91ED-43cb-92C2-25804820EDAC}">
              <c15:datalabelsRange>
                <c15:f>Sheet1!$E$2:$E$10</c15:f>
                <c15:dlblRangeCache>
                  <c:ptCount val="9"/>
                  <c:pt idx="0">
                    <c:v>Hacendado</c:v>
                  </c:pt>
                  <c:pt idx="1">
                    <c:v>Danone Group</c:v>
                  </c:pt>
                  <c:pt idx="2">
                    <c:v>Nestle</c:v>
                  </c:pt>
                  <c:pt idx="3">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2DC955C-52EA-42E0-BC1D-1EFBE3E61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341F7D1-DFED-4B4A-944E-AC4A45EEB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B95834A9-B807-4531-83C9-B9A33139D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533C5743-CC35-4E88-9895-03DE09590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BA52BF33-2930-4AA0-B8BF-8FEE3EB64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654D5515-72D2-4576-92E8-CF0EA5196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B776875-96C5-405A-B552-7BA75888E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9521ADD-D2D6-4606-A013-4D6121E40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444000000000001</c:v>
                </c:pt>
                <c:pt idx="1">
                  <c:v>1.4240999999999999</c:v>
                </c:pt>
              </c:numCache>
            </c:numRef>
          </c:xVal>
          <c:yVal>
            <c:numRef>
              <c:f>Sheet1!$B$2:$B$3</c:f>
              <c:numCache>
                <c:formatCode>General</c:formatCode>
                <c:ptCount val="2"/>
                <c:pt idx="0">
                  <c:v>0.98899999999999999</c:v>
                </c:pt>
                <c:pt idx="1">
                  <c:v>1.1970000000000001</c:v>
                </c:pt>
              </c:numCache>
            </c:numRef>
          </c:yVal>
          <c:bubbleSize>
            <c:numRef>
              <c:f>Sheet1!$C$2:$C$3</c:f>
              <c:numCache>
                <c:formatCode>General</c:formatCode>
                <c:ptCount val="2"/>
                <c:pt idx="0">
                  <c:v>12600909</c:v>
                </c:pt>
                <c:pt idx="1">
                  <c:v>884286</c:v>
                </c:pt>
              </c:numCache>
            </c:numRef>
          </c:bubbleSize>
          <c:bubble3D val="0"/>
          <c:extLst>
            <c:ext xmlns:c15="http://schemas.microsoft.com/office/drawing/2012/chart" uri="{02D57815-91ED-43cb-92C2-25804820EDAC}">
              <c15:datalabelsRange>
                <c15:f>Sheet1!$E$2:$E$10</c15:f>
                <c15:dlblRangeCache>
                  <c:ptCount val="9"/>
                  <c:pt idx="0">
                    <c:v>Alpro</c:v>
                  </c:pt>
                  <c:pt idx="1">
                    <c:v>Hacendad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497D36-EB6D-4B7E-B0C4-D97732FB0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4E88C0-8FD0-4655-9657-596E6D802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E62A556-E916-4CB3-BF06-81D83DFB5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D7D6628-7401-4D0D-B87B-EEF33F08C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FC76609-EE06-4D1E-B22E-E2C2EA1B3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450663B-972A-498F-B207-06617990E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97AF045-DBF9-4BFB-83BB-064209E1D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AE38B7-5213-45FE-9184-2C4E2EF05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444000000000001</c:v>
                </c:pt>
                <c:pt idx="1">
                  <c:v>1.4240999999999999</c:v>
                </c:pt>
              </c:numCache>
            </c:numRef>
          </c:xVal>
          <c:yVal>
            <c:numRef>
              <c:f>Sheet1!$B$2:$B$3</c:f>
              <c:numCache>
                <c:formatCode>General</c:formatCode>
                <c:ptCount val="2"/>
                <c:pt idx="0">
                  <c:v>0.98899999999999999</c:v>
                </c:pt>
                <c:pt idx="1">
                  <c:v>1.1970000000000001</c:v>
                </c:pt>
              </c:numCache>
            </c:numRef>
          </c:yVal>
          <c:bubbleSize>
            <c:numRef>
              <c:f>Sheet1!$C$2:$C$3</c:f>
              <c:numCache>
                <c:formatCode>General</c:formatCode>
                <c:ptCount val="2"/>
                <c:pt idx="0">
                  <c:v>12600909</c:v>
                </c:pt>
                <c:pt idx="1">
                  <c:v>884286</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BE94EC-EA06-47AA-967A-3E93BAF1C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981C85E-0F93-4C74-A76E-180883934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9B88071-DEEE-4D50-9096-20C7BC4F1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AA04FE4-A1E6-47DD-B2D6-BE8EBE1C0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F34E8AA-FEDE-4942-BDBF-83965C3CF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36EC73-371E-4B5D-AA12-70C437458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A98A98-4502-449B-B5E8-AC143F379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9A53653-3F9C-4F55-AA34-2ED89B8DD5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63000000000001</c:v>
                </c:pt>
              </c:numCache>
            </c:numRef>
          </c:xVal>
          <c:yVal>
            <c:numRef>
              <c:f>Sheet1!$B$2:$B$2</c:f>
              <c:numCache>
                <c:formatCode>General</c:formatCode>
                <c:ptCount val="1"/>
                <c:pt idx="0">
                  <c:v>1</c:v>
                </c:pt>
              </c:numCache>
            </c:numRef>
          </c:yVal>
          <c:bubbleSize>
            <c:numRef>
              <c:f>Sheet1!$C$2:$C$2</c:f>
              <c:numCache>
                <c:formatCode>General</c:formatCode>
                <c:ptCount val="1"/>
                <c:pt idx="0">
                  <c:v>2195831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E4D6D2-BF00-40F8-9EA4-1583B7FEF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E8EAEF-A5AE-43E7-B849-77D30FE22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0477064-917C-46B4-8185-876689955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7E8C9CF-F370-4367-8E63-DD98F4C4F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7D69FB2-5013-4D76-AB1A-4FA9F21D8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863CF1-0E28-404E-9171-C464A2037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B26409-5BAA-48B7-A5EF-9279F981E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7446F5-724F-4E76-A6A9-76BC87ABC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161999999999999</c:v>
                </c:pt>
                <c:pt idx="1">
                  <c:v>1.67</c:v>
                </c:pt>
              </c:numCache>
            </c:numRef>
          </c:xVal>
          <c:yVal>
            <c:numRef>
              <c:f>Sheet1!$B$2:$B$3</c:f>
              <c:numCache>
                <c:formatCode>General</c:formatCode>
                <c:ptCount val="2"/>
                <c:pt idx="0">
                  <c:v>0.94299999999999995</c:v>
                </c:pt>
                <c:pt idx="1">
                  <c:v>1.0680000000000001</c:v>
                </c:pt>
              </c:numCache>
            </c:numRef>
          </c:yVal>
          <c:bubbleSize>
            <c:numRef>
              <c:f>Sheet1!$C$2:$C$3</c:f>
              <c:numCache>
                <c:formatCode>General</c:formatCode>
                <c:ptCount val="2"/>
                <c:pt idx="0">
                  <c:v>14863059</c:v>
                </c:pt>
                <c:pt idx="1">
                  <c:v>14192497</c:v>
                </c:pt>
              </c:numCache>
            </c:numRef>
          </c:bubbleSize>
          <c:bubble3D val="0"/>
          <c:extLst>
            <c:ext xmlns:c15="http://schemas.microsoft.com/office/drawing/2012/chart" uri="{02D57815-91ED-43cb-92C2-25804820EDAC}">
              <c15:datalabelsRange>
                <c15:f>Sheet1!$E$2:$E$10</c15:f>
                <c15:dlblRangeCache>
                  <c:ptCount val="9"/>
                  <c:pt idx="0">
                    <c:v>Hacendado</c:v>
                  </c:pt>
                  <c:pt idx="1">
                    <c:v>Danone Group</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99D4EA-5304-423A-A50C-0505850EB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225A60-D345-4A83-949B-774786B79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2F390F6-885A-4B40-ACE9-3EB66E73A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9885904-605E-449C-8888-0433CC88C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1BBAC7F-4F25-4063-B11C-34B7F7ED6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8C7ED8-870C-4065-B8ED-FC9273D98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06F8744-D985-45EE-A4E6-7C1A14C50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A7DB60-EADD-4D6F-9226-96F6E9FFA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282</c:v>
                </c:pt>
                <c:pt idx="1">
                  <c:v>2.46</c:v>
                </c:pt>
              </c:numCache>
            </c:numRef>
          </c:xVal>
          <c:yVal>
            <c:numRef>
              <c:f>Sheet1!$B$2:$B$3</c:f>
              <c:numCache>
                <c:formatCode>General</c:formatCode>
                <c:ptCount val="2"/>
                <c:pt idx="0">
                  <c:v>1.008</c:v>
                </c:pt>
                <c:pt idx="1">
                  <c:v>0.94499999999999995</c:v>
                </c:pt>
              </c:numCache>
            </c:numRef>
          </c:yVal>
          <c:bubbleSize>
            <c:numRef>
              <c:f>Sheet1!$C$2:$C$3</c:f>
              <c:numCache>
                <c:formatCode>General</c:formatCode>
                <c:ptCount val="2"/>
                <c:pt idx="0">
                  <c:v>14310702</c:v>
                </c:pt>
                <c:pt idx="1">
                  <c:v>2023564</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909767-2C86-4945-85EF-914F2743E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57DD50-C428-4D1B-B021-2A11D32B8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F661DA-4D04-44FA-8907-4AF19FB53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5B9B138-8474-43D7-A6B0-CD3AF1F5E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5BF19DF-803B-4966-83F2-8D440A6DA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C774BA-3F56-4150-BEE8-8614D7159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AC69D7-D7EA-482F-809B-CD584AB4D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B144B2-0A7E-4464-89B3-FA0DD215C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1589999999999998</c:v>
                </c:pt>
                <c:pt idx="1">
                  <c:v>1.1758999999999999</c:v>
                </c:pt>
                <c:pt idx="2">
                  <c:v>1.89</c:v>
                </c:pt>
              </c:numCache>
            </c:numRef>
          </c:xVal>
          <c:yVal>
            <c:numRef>
              <c:f>Sheet1!$B$2:$B$4</c:f>
              <c:numCache>
                <c:formatCode>General</c:formatCode>
                <c:ptCount val="3"/>
                <c:pt idx="0">
                  <c:v>0.90700000000000003</c:v>
                </c:pt>
                <c:pt idx="1">
                  <c:v>1.032</c:v>
                </c:pt>
                <c:pt idx="2">
                  <c:v>2.734</c:v>
                </c:pt>
              </c:numCache>
            </c:numRef>
          </c:yVal>
          <c:bubbleSize>
            <c:numRef>
              <c:f>Sheet1!$C$2:$C$4</c:f>
              <c:numCache>
                <c:formatCode>General</c:formatCode>
                <c:ptCount val="3"/>
                <c:pt idx="0">
                  <c:v>12708066</c:v>
                </c:pt>
                <c:pt idx="1">
                  <c:v>6085272</c:v>
                </c:pt>
                <c:pt idx="2">
                  <c:v>1770752</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pt idx="2">
                    <c:v>Nest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2A292D-A793-4B0B-83FC-95232356E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AC8F44-1E36-4C4B-AF53-2B2FE95BE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32DE6F4-EF47-4CAC-A905-23180777C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76B4E2-8879-4300-B2F2-B914A765A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BCEFCF-34E6-481D-908F-BFA9F5F52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2C31338-5F67-4B3E-B1FC-B13A4F181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8BCE17-6BAA-417A-AE8A-892483B01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4B673E-95D4-4C80-851C-D03555FAF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720000000000001</c:v>
                </c:pt>
                <c:pt idx="1">
                  <c:v>1.9956</c:v>
                </c:pt>
              </c:numCache>
            </c:numRef>
          </c:xVal>
          <c:yVal>
            <c:numRef>
              <c:f>Sheet1!$B$2:$B$3</c:f>
              <c:numCache>
                <c:formatCode>General</c:formatCode>
                <c:ptCount val="2"/>
                <c:pt idx="0">
                  <c:v>1.056</c:v>
                </c:pt>
                <c:pt idx="1">
                  <c:v>0.82699999999999996</c:v>
                </c:pt>
              </c:numCache>
            </c:numRef>
          </c:yVal>
          <c:bubbleSize>
            <c:numRef>
              <c:f>Sheet1!$C$2:$C$3</c:f>
              <c:numCache>
                <c:formatCode>General</c:formatCode>
                <c:ptCount val="2"/>
                <c:pt idx="0">
                  <c:v>11453660</c:v>
                </c:pt>
                <c:pt idx="1">
                  <c:v>2921868</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C4B9E0-D651-40F0-BEDD-CA0DA0420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08705725-5280-4FAE-A365-0318FAE02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E3E8AB5-600F-40C2-90D4-A0ACD045D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0C66DF3-3A35-4948-AE1F-48A64BD05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05EE53-C6FE-4338-ADA8-0B444E1DA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436AB9D-049B-4E6A-9D4C-7AE19D05D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45FA671-977B-437F-8DA2-AC6C43F26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20CF009-2F1A-4867-BAFC-90945B062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2730000000000001</c:v>
                </c:pt>
              </c:numCache>
            </c:numRef>
          </c:xVal>
          <c:yVal>
            <c:numRef>
              <c:f>Sheet1!$B$2:$B$2</c:f>
              <c:numCache>
                <c:formatCode>General</c:formatCode>
                <c:ptCount val="1"/>
                <c:pt idx="0">
                  <c:v>1</c:v>
                </c:pt>
              </c:numCache>
            </c:numRef>
          </c:yVal>
          <c:bubbleSize>
            <c:numRef>
              <c:f>Sheet1!$C$2:$C$2</c:f>
              <c:numCache>
                <c:formatCode>General</c:formatCode>
                <c:ptCount val="1"/>
                <c:pt idx="0">
                  <c:v>1099953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EA4020-F958-4DD2-A352-6DBA303E1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34BEED-E354-4C89-B525-DABA5DC31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75EDB5-41B1-4B51-B496-9A14364E9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4CA62E-0BB1-4B3E-AC19-EEC483715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758812-79BF-4DFC-8CD0-ADDB47643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CD3D572-EC1B-403C-B104-9CB6562B4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8406094-017D-4E86-A26F-3C5917710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49E256-C71C-4C92-BCC7-391584599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536</c:v>
                </c:pt>
                <c:pt idx="2">
                  <c:v>1.85</c:v>
                </c:pt>
              </c:numCache>
            </c:numRef>
          </c:xVal>
          <c:yVal>
            <c:numRef>
              <c:f>Sheet1!$B$2:$B$4</c:f>
              <c:numCache>
                <c:formatCode>General</c:formatCode>
                <c:ptCount val="3"/>
                <c:pt idx="0">
                  <c:v>0.90600000000000003</c:v>
                </c:pt>
                <c:pt idx="1">
                  <c:v>0.99099999999999999</c:v>
                </c:pt>
                <c:pt idx="2">
                  <c:v>1.786</c:v>
                </c:pt>
              </c:numCache>
            </c:numRef>
          </c:yVal>
          <c:bubbleSize>
            <c:numRef>
              <c:f>Sheet1!$C$2:$C$4</c:f>
              <c:numCache>
                <c:formatCode>General</c:formatCode>
                <c:ptCount val="3"/>
                <c:pt idx="0">
                  <c:v>4383007</c:v>
                </c:pt>
                <c:pt idx="1">
                  <c:v>1503722</c:v>
                </c:pt>
                <c:pt idx="2">
                  <c:v>1063778</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pt idx="2">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373375-F7FE-4A37-945D-48B5EB3AE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C3A4F52-4779-4236-82F7-4F94BD78B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B768FA-7974-420D-8605-9D0304BBD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BA0255-68E9-4DF2-9CEC-64BF7B574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8C899A-D8F9-4AA6-9302-33FE901E3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A2FD775-CAC3-4152-A901-46E241B05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B94EC7-D3D9-4520-8D86-13597FA34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71AA2FC-C1EB-4A00-8C04-9C02502BB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1E3444-62B3-43B7-9842-0AAA90626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78197B-EBE7-45F6-AF00-57809DC96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E39DB6-9C8F-4D6F-9716-B10D337BE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B9D1BE2-28F7-4C0C-98B7-F584BA5D3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F70F30-3DF5-484D-8F62-7B49AF63E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B8E6993-15EE-4DCB-8E8E-51F71EA7F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85A275-1D38-4465-8894-2382A3222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F3BACB-3C65-4A05-AB8D-BA862EC12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1589999999999998</c:v>
                </c:pt>
                <c:pt idx="1">
                  <c:v>1.1758999999999999</c:v>
                </c:pt>
                <c:pt idx="2">
                  <c:v>1.89</c:v>
                </c:pt>
              </c:numCache>
            </c:numRef>
          </c:xVal>
          <c:yVal>
            <c:numRef>
              <c:f>Sheet1!$B$2:$B$4</c:f>
              <c:numCache>
                <c:formatCode>General</c:formatCode>
                <c:ptCount val="3"/>
                <c:pt idx="0">
                  <c:v>0.90700000000000003</c:v>
                </c:pt>
                <c:pt idx="1">
                  <c:v>1.032</c:v>
                </c:pt>
                <c:pt idx="2">
                  <c:v>2.734</c:v>
                </c:pt>
              </c:numCache>
            </c:numRef>
          </c:yVal>
          <c:bubbleSize>
            <c:numRef>
              <c:f>Sheet1!$C$2:$C$4</c:f>
              <c:numCache>
                <c:formatCode>General</c:formatCode>
                <c:ptCount val="3"/>
                <c:pt idx="0">
                  <c:v>12708066</c:v>
                </c:pt>
                <c:pt idx="1">
                  <c:v>6085272</c:v>
                </c:pt>
                <c:pt idx="2">
                  <c:v>1770752</c:v>
                </c:pt>
              </c:numCache>
            </c:numRef>
          </c:bubbleSize>
          <c:bubble3D val="0"/>
          <c:extLst>
            <c:ext xmlns:c15="http://schemas.microsoft.com/office/drawing/2012/chart" uri="{02D57815-91ED-43cb-92C2-25804820EDAC}">
              <c15:datalabelsRange>
                <c15:f>Sheet1!$E$2:$E$10</c15:f>
                <c15:dlblRangeCache>
                  <c:ptCount val="9"/>
                  <c:pt idx="0">
                    <c:v>Danone Group</c:v>
                  </c:pt>
                  <c:pt idx="1">
                    <c:v>Hacendado</c:v>
                  </c:pt>
                  <c:pt idx="2">
                    <c:v>Nest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2A18A1B3-01AC-4FB8-B5AA-15BF7EB6C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CA-4C16-90F6-A0D9A3D8DA8E}"/>
                </c:ext>
              </c:extLst>
            </c:dLbl>
            <c:dLbl>
              <c:idx val="2"/>
              <c:tx>
                <c:rich>
                  <a:bodyPr/>
                  <a:lstStyle/>
                  <a:p>
                    <a:fld id="{685FE396-0511-4DB4-B5AE-3BAE9381A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7DE2D34A-BDBA-45C1-A5BD-25F48AB41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51A8DAAB-A3FA-46A3-BA9D-B1E38ABDF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C3439BCD-3CAA-457B-A010-39E78F7A5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45B270F9-C469-4B96-86DD-30B4980A4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4F0F8ECA-8D61-474F-9673-65DA516D4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2B4888B8-18BC-402F-90EA-C1313A854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63000000000001</c:v>
                </c:pt>
              </c:numCache>
            </c:numRef>
          </c:xVal>
          <c:yVal>
            <c:numRef>
              <c:f>Sheet1!$B$2:$B$2</c:f>
              <c:numCache>
                <c:formatCode>General</c:formatCode>
                <c:ptCount val="1"/>
                <c:pt idx="0">
                  <c:v>1</c:v>
                </c:pt>
              </c:numCache>
            </c:numRef>
          </c:yVal>
          <c:bubbleSize>
            <c:numRef>
              <c:f>Sheet1!$C$2:$C$2</c:f>
              <c:numCache>
                <c:formatCode>General</c:formatCode>
                <c:ptCount val="1"/>
                <c:pt idx="0">
                  <c:v>2195831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464190-ED3E-44AF-9CA6-F12061E3A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83DD8ED-DAC9-48FD-8B66-0A9496F04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7B0265D-0E07-459D-8F8F-A248528A7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7FABCBF-BCD1-4A06-82C3-B6B479CF7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A815013-5704-4466-89E4-7C4812D99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82EB298-DBD9-4876-80ED-B50380C0A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B41FDD-68F4-4E84-9D89-73B85730A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F2E336-EF93-4CF6-A4D7-078351EA6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11000000000001</c:v>
                </c:pt>
              </c:numCache>
            </c:numRef>
          </c:xVal>
          <c:yVal>
            <c:numRef>
              <c:f>Sheet1!$B$2:$B$2</c:f>
              <c:numCache>
                <c:formatCode>General</c:formatCode>
                <c:ptCount val="1"/>
                <c:pt idx="0">
                  <c:v>1</c:v>
                </c:pt>
              </c:numCache>
            </c:numRef>
          </c:yVal>
          <c:bubbleSize>
            <c:numRef>
              <c:f>Sheet1!$C$2:$C$2</c:f>
              <c:numCache>
                <c:formatCode>General</c:formatCode>
                <c:ptCount val="1"/>
                <c:pt idx="0">
                  <c:v>31982218</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F67DD1-529C-43EA-91F6-52110D7F7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2D45EC1-9A63-4684-B659-F16D35385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F3D9F1C-2F5E-4A59-9217-6FC62B946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609C6CE-C3F5-4E54-9C36-DD9DE7881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72E85E5-7369-4126-93D9-36181B057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4AEE0F-C6F2-4F6F-AFAF-D145482AF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7F386BF-A42C-4027-902E-D983E7AEE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16CC71-1BA6-4E76-AAFB-DE4EB3FE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c:v>
                </c:pt>
              </c:numCache>
            </c:numRef>
          </c:xVal>
          <c:yVal>
            <c:numRef>
              <c:f>Sheet1!$B$2:$B$2</c:f>
              <c:numCache>
                <c:formatCode>General</c:formatCode>
                <c:ptCount val="1"/>
                <c:pt idx="0">
                  <c:v>1</c:v>
                </c:pt>
              </c:numCache>
            </c:numRef>
          </c:yVal>
          <c:bubbleSize>
            <c:numRef>
              <c:f>Sheet1!$C$2:$C$2</c:f>
              <c:numCache>
                <c:formatCode>General</c:formatCode>
                <c:ptCount val="1"/>
                <c:pt idx="0">
                  <c:v>819001</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5B8BFA-DB7C-4F77-8DD8-BD8847E04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EFC128-395D-4892-8BB3-BCC73D7AD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B7AEB8-D5C4-4CC8-8397-ADA1030AC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7B2FA55-A7A4-48CF-AA90-4D90AE7E8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F573E9-55E6-41F4-9649-F32E57536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77BFA9-8D29-4425-BE99-2190F5549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75F670-2370-48C3-8637-455F6010F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DB97B1-8E23-4B11-86D3-E12D8FB16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85</c:v>
                </c:pt>
                <c:pt idx="2">
                  <c:v>1.41</c:v>
                </c:pt>
              </c:numCache>
            </c:numRef>
          </c:xVal>
          <c:yVal>
            <c:numRef>
              <c:f>Sheet1!$B$2:$B$4</c:f>
              <c:numCache>
                <c:formatCode>General</c:formatCode>
                <c:ptCount val="3"/>
                <c:pt idx="0">
                  <c:v>0.95099999999999996</c:v>
                </c:pt>
                <c:pt idx="1">
                  <c:v>1.8759999999999999</c:v>
                </c:pt>
                <c:pt idx="2">
                  <c:v>0.71499999999999997</c:v>
                </c:pt>
              </c:numCache>
            </c:numRef>
          </c:yVal>
          <c:bubbleSize>
            <c:numRef>
              <c:f>Sheet1!$C$2:$C$4</c:f>
              <c:numCache>
                <c:formatCode>General</c:formatCode>
                <c:ptCount val="3"/>
                <c:pt idx="0">
                  <c:v>4383007</c:v>
                </c:pt>
                <c:pt idx="1">
                  <c:v>1063778</c:v>
                </c:pt>
                <c:pt idx="2">
                  <c:v>684721</c:v>
                </c:pt>
              </c:numCache>
            </c:numRef>
          </c:bubbleSize>
          <c:bubble3D val="0"/>
          <c:extLst>
            <c:ext xmlns:c15="http://schemas.microsoft.com/office/drawing/2012/chart" uri="{02D57815-91ED-43cb-92C2-25804820EDAC}">
              <c15:datalabelsRange>
                <c15:f>Sheet1!$E$2:$E$10</c15:f>
                <c15:dlblRangeCache>
                  <c:ptCount val="9"/>
                  <c:pt idx="0">
                    <c:v>Danone Group</c:v>
                  </c:pt>
                  <c:pt idx="1">
                    <c:v>La Fageda</c:v>
                  </c:pt>
                  <c:pt idx="2">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5B36A4-036D-47E2-8906-6E085E6CA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D5E42C9-0637-49FD-A3B6-FE4BE090B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650AC6A-C930-4E98-BC58-997FF9387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E44A4AA-F3C2-4710-8EE2-93884CFD7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B0423F9-C9AF-4066-A239-B4A89B3FC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156453-8B97-4A15-827D-59CFA363D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3FCC24-1608-4F40-B816-3BD7ACC69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5B29B8-752D-4F36-9E13-26493DA14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DBAF-4120-BF03-DD002B136AC8}"/>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DBAF-4120-BF03-DD002B136AC8}"/>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e Group</c:v>
                  </c:pt>
                  <c:pt idx="2">
                    <c:v>Total</c:v>
                  </c:pt>
                  <c:pt idx="3">
                    <c:v>Danone Group</c:v>
                  </c:pt>
                  <c:pt idx="4">
                    <c:v>Total</c:v>
                  </c:pt>
                  <c:pt idx="5">
                    <c:v>Danone Group</c:v>
                  </c:pt>
                  <c:pt idx="6">
                    <c:v>Total</c:v>
                  </c:pt>
                  <c:pt idx="7">
                    <c:v>Danone Group</c:v>
                  </c:pt>
                  <c:pt idx="8">
                    <c:v>Total</c:v>
                  </c:pt>
                  <c:pt idx="9">
                    <c:v>Danone Group</c:v>
                  </c:pt>
                  <c:pt idx="10">
                    <c:v>Total</c:v>
                  </c:pt>
                  <c:pt idx="11">
                    <c:v>Danone Group</c:v>
                  </c:pt>
                  <c:pt idx="12">
                    <c:v>Total</c:v>
                  </c:pt>
                  <c:pt idx="13">
                    <c:v>Danone Group</c:v>
                  </c:pt>
                  <c:pt idx="14">
                    <c:v>Total</c:v>
                  </c:pt>
                  <c:pt idx="15">
                    <c:v>Danone Group</c:v>
                  </c:pt>
                  <c:pt idx="16">
                    <c:v>Total</c:v>
                  </c:pt>
                  <c:pt idx="17">
                    <c:v>Danone Group</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12.7</c:v>
                </c:pt>
                <c:pt idx="2">
                  <c:v>8</c:v>
                </c:pt>
                <c:pt idx="3">
                  <c:v>0</c:v>
                </c:pt>
                <c:pt idx="4">
                  <c:v>7</c:v>
                </c:pt>
                <c:pt idx="5">
                  <c:v>4.4000000000000004</c:v>
                </c:pt>
                <c:pt idx="6">
                  <c:v>29.1</c:v>
                </c:pt>
                <c:pt idx="7">
                  <c:v>14.2</c:v>
                </c:pt>
                <c:pt idx="8">
                  <c:v>16.3</c:v>
                </c:pt>
                <c:pt idx="9">
                  <c:v>14.3</c:v>
                </c:pt>
                <c:pt idx="10">
                  <c:v>14.4</c:v>
                </c:pt>
                <c:pt idx="11">
                  <c:v>11.5</c:v>
                </c:pt>
                <c:pt idx="12">
                  <c:v>11</c:v>
                </c:pt>
                <c:pt idx="13">
                  <c:v>0</c:v>
                </c:pt>
                <c:pt idx="14">
                  <c:v>13.5</c:v>
                </c:pt>
                <c:pt idx="15">
                  <c:v>12.6</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DBAF-4120-BF03-DD002B136AC8}"/>
                </c:ext>
              </c:extLst>
            </c:dLbl>
            <c:dLbl>
              <c:idx val="5"/>
              <c:tx>
                <c:rich>
                  <a:bodyPr/>
                  <a:lstStyle/>
                  <a:p>
                    <a:r>
                      <a:t>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DBAF-4120-BF03-DD002B136AC8}"/>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DBAF-4120-BF03-DD002B136AC8}"/>
                </c:ext>
              </c:extLst>
            </c:dLbl>
            <c:dLbl>
              <c:idx val="7"/>
              <c:tx>
                <c:rich>
                  <a:bodyPr/>
                  <a:lstStyle/>
                  <a:p>
                    <a:r>
                      <a:t>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DBAF-4120-BF03-DD002B136AC8}"/>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DBAF-4120-BF03-DD002B136AC8}"/>
                </c:ext>
              </c:extLst>
            </c:dLbl>
            <c:dLbl>
              <c:idx val="9"/>
              <c:tx>
                <c:rich>
                  <a:bodyPr/>
                  <a:lstStyle/>
                  <a:p>
                    <a:r>
                      <a:t>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DBAF-4120-BF03-DD002B136AC8}"/>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DBAF-4120-BF03-DD002B136AC8}"/>
                </c:ext>
              </c:extLst>
            </c:dLbl>
            <c:dLbl>
              <c:idx val="11"/>
              <c:tx>
                <c:rich>
                  <a:bodyPr/>
                  <a:lstStyle/>
                  <a:p>
                    <a:r>
                      <a:t>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DBAF-4120-BF03-DD002B136AC8}"/>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DBAF-4120-BF03-DD002B136AC8}"/>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DBAF-4120-BF03-DD002B136AC8}"/>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DBAF-4120-BF03-DD002B136AC8}"/>
                </c:ext>
              </c:extLst>
            </c:dLbl>
            <c:dLbl>
              <c:idx val="15"/>
              <c:tx>
                <c:rich>
                  <a:bodyPr/>
                  <a:lstStyle/>
                  <a:p>
                    <a:r>
                      <a:t>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DBAF-4120-BF03-DD002B136AC8}"/>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DBAF-4120-BF03-DD002B136AC8}"/>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DBAF-4120-BF03-DD002B136AC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e Group</c:v>
                  </c:pt>
                  <c:pt idx="2">
                    <c:v>Total</c:v>
                  </c:pt>
                  <c:pt idx="3">
                    <c:v>Danone Group</c:v>
                  </c:pt>
                  <c:pt idx="4">
                    <c:v>Total</c:v>
                  </c:pt>
                  <c:pt idx="5">
                    <c:v>Danone Group</c:v>
                  </c:pt>
                  <c:pt idx="6">
                    <c:v>Total</c:v>
                  </c:pt>
                  <c:pt idx="7">
                    <c:v>Danone Group</c:v>
                  </c:pt>
                  <c:pt idx="8">
                    <c:v>Total</c:v>
                  </c:pt>
                  <c:pt idx="9">
                    <c:v>Danone Group</c:v>
                  </c:pt>
                  <c:pt idx="10">
                    <c:v>Total</c:v>
                  </c:pt>
                  <c:pt idx="11">
                    <c:v>Danone Group</c:v>
                  </c:pt>
                  <c:pt idx="12">
                    <c:v>Total</c:v>
                  </c:pt>
                  <c:pt idx="13">
                    <c:v>Danone Group</c:v>
                  </c:pt>
                  <c:pt idx="14">
                    <c:v>Total</c:v>
                  </c:pt>
                  <c:pt idx="15">
                    <c:v>Danone Group</c:v>
                  </c:pt>
                  <c:pt idx="16">
                    <c:v>Total</c:v>
                  </c:pt>
                  <c:pt idx="17">
                    <c:v>Danone Group</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1.2534000000000001</c:v>
                </c:pt>
                <c:pt idx="2">
                  <c:v>1.5611999999999999</c:v>
                </c:pt>
                <c:pt idx="3">
                  <c:v>0</c:v>
                </c:pt>
                <c:pt idx="4">
                  <c:v>2.8776000000000002</c:v>
                </c:pt>
                <c:pt idx="5">
                  <c:v>2.6071</c:v>
                </c:pt>
                <c:pt idx="6">
                  <c:v>2.0173999999999999</c:v>
                </c:pt>
                <c:pt idx="7">
                  <c:v>2.1539000000000001</c:v>
                </c:pt>
                <c:pt idx="8">
                  <c:v>3.2549000000000001</c:v>
                </c:pt>
                <c:pt idx="9">
                  <c:v>3.282</c:v>
                </c:pt>
                <c:pt idx="10">
                  <c:v>2.4232999999999998</c:v>
                </c:pt>
                <c:pt idx="11">
                  <c:v>2.56</c:v>
                </c:pt>
                <c:pt idx="12">
                  <c:v>3.0051999999999999</c:v>
                </c:pt>
                <c:pt idx="13">
                  <c:v>0</c:v>
                </c:pt>
                <c:pt idx="14">
                  <c:v>2.9733000000000001</c:v>
                </c:pt>
                <c:pt idx="15">
                  <c:v>2.9392999999999998</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7528-4DAE-8F00-7E5FA9839E6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7528-4DAE-8F00-7E5FA9839E6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ctimel</c:v>
                  </c:pt>
                  <c:pt idx="2">
                    <c:v>Total</c:v>
                  </c:pt>
                  <c:pt idx="3">
                    <c:v>Actimel</c:v>
                  </c:pt>
                  <c:pt idx="4">
                    <c:v>Total</c:v>
                  </c:pt>
                  <c:pt idx="5">
                    <c:v>Actimel</c:v>
                  </c:pt>
                  <c:pt idx="6">
                    <c:v>Total</c:v>
                  </c:pt>
                  <c:pt idx="7">
                    <c:v>Actimel</c:v>
                  </c:pt>
                  <c:pt idx="8">
                    <c:v>Total</c:v>
                  </c:pt>
                  <c:pt idx="9">
                    <c:v>Actimel</c:v>
                  </c:pt>
                  <c:pt idx="10">
                    <c:v>Total</c:v>
                  </c:pt>
                  <c:pt idx="11">
                    <c:v>Actimel</c:v>
                  </c:pt>
                  <c:pt idx="12">
                    <c:v>Total</c:v>
                  </c:pt>
                  <c:pt idx="13">
                    <c:v>Actimel</c:v>
                  </c:pt>
                  <c:pt idx="14">
                    <c:v>Total</c:v>
                  </c:pt>
                  <c:pt idx="15">
                    <c:v>Actimel</c:v>
                  </c:pt>
                  <c:pt idx="16">
                    <c:v>Total</c:v>
                  </c:pt>
                  <c:pt idx="17">
                    <c:v>Actimel</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0</c:v>
                </c:pt>
                <c:pt idx="2">
                  <c:v>8</c:v>
                </c:pt>
                <c:pt idx="3">
                  <c:v>0</c:v>
                </c:pt>
                <c:pt idx="4">
                  <c:v>7</c:v>
                </c:pt>
                <c:pt idx="5">
                  <c:v>0</c:v>
                </c:pt>
                <c:pt idx="6">
                  <c:v>29.1</c:v>
                </c:pt>
                <c:pt idx="7">
                  <c:v>0</c:v>
                </c:pt>
                <c:pt idx="8">
                  <c:v>16.3</c:v>
                </c:pt>
                <c:pt idx="9">
                  <c:v>0</c:v>
                </c:pt>
                <c:pt idx="10">
                  <c:v>14.4</c:v>
                </c:pt>
                <c:pt idx="11">
                  <c:v>11.5</c:v>
                </c:pt>
                <c:pt idx="12">
                  <c:v>11</c:v>
                </c:pt>
                <c:pt idx="13">
                  <c:v>0</c:v>
                </c:pt>
                <c:pt idx="14">
                  <c:v>13.5</c:v>
                </c:pt>
                <c:pt idx="15">
                  <c:v>0</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528-4DAE-8F00-7E5FA9839E6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528-4DAE-8F00-7E5FA9839E66}"/>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528-4DAE-8F00-7E5FA9839E6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528-4DAE-8F00-7E5FA9839E66}"/>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528-4DAE-8F00-7E5FA9839E6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528-4DAE-8F00-7E5FA9839E66}"/>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528-4DAE-8F00-7E5FA9839E66}"/>
                </c:ext>
              </c:extLst>
            </c:dLbl>
            <c:dLbl>
              <c:idx val="11"/>
              <c:tx>
                <c:rich>
                  <a:bodyPr/>
                  <a:lstStyle/>
                  <a:p>
                    <a:r>
                      <a:t>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528-4DAE-8F00-7E5FA9839E66}"/>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7528-4DAE-8F00-7E5FA9839E6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528-4DAE-8F00-7E5FA9839E66}"/>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528-4DAE-8F00-7E5FA9839E6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528-4DAE-8F00-7E5FA9839E66}"/>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528-4DAE-8F00-7E5FA9839E6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528-4DAE-8F00-7E5FA9839E6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ctimel</c:v>
                  </c:pt>
                  <c:pt idx="2">
                    <c:v>Total</c:v>
                  </c:pt>
                  <c:pt idx="3">
                    <c:v>Actimel</c:v>
                  </c:pt>
                  <c:pt idx="4">
                    <c:v>Total</c:v>
                  </c:pt>
                  <c:pt idx="5">
                    <c:v>Actimel</c:v>
                  </c:pt>
                  <c:pt idx="6">
                    <c:v>Total</c:v>
                  </c:pt>
                  <c:pt idx="7">
                    <c:v>Actimel</c:v>
                  </c:pt>
                  <c:pt idx="8">
                    <c:v>Total</c:v>
                  </c:pt>
                  <c:pt idx="9">
                    <c:v>Actimel</c:v>
                  </c:pt>
                  <c:pt idx="10">
                    <c:v>Total</c:v>
                  </c:pt>
                  <c:pt idx="11">
                    <c:v>Actimel</c:v>
                  </c:pt>
                  <c:pt idx="12">
                    <c:v>Total</c:v>
                  </c:pt>
                  <c:pt idx="13">
                    <c:v>Actimel</c:v>
                  </c:pt>
                  <c:pt idx="14">
                    <c:v>Total</c:v>
                  </c:pt>
                  <c:pt idx="15">
                    <c:v>Actimel</c:v>
                  </c:pt>
                  <c:pt idx="16">
                    <c:v>Total</c:v>
                  </c:pt>
                  <c:pt idx="17">
                    <c:v>Actimel</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0</c:v>
                </c:pt>
                <c:pt idx="2">
                  <c:v>1.5611999999999999</c:v>
                </c:pt>
                <c:pt idx="3">
                  <c:v>0</c:v>
                </c:pt>
                <c:pt idx="4">
                  <c:v>2.8776000000000002</c:v>
                </c:pt>
                <c:pt idx="5">
                  <c:v>0</c:v>
                </c:pt>
                <c:pt idx="6">
                  <c:v>2.0173999999999999</c:v>
                </c:pt>
                <c:pt idx="7">
                  <c:v>0</c:v>
                </c:pt>
                <c:pt idx="8">
                  <c:v>3.2549000000000001</c:v>
                </c:pt>
                <c:pt idx="9">
                  <c:v>0</c:v>
                </c:pt>
                <c:pt idx="10">
                  <c:v>2.4232999999999998</c:v>
                </c:pt>
                <c:pt idx="11">
                  <c:v>2.56</c:v>
                </c:pt>
                <c:pt idx="12">
                  <c:v>3.0051999999999999</c:v>
                </c:pt>
                <c:pt idx="13">
                  <c:v>0</c:v>
                </c:pt>
                <c:pt idx="14">
                  <c:v>2.9733000000000001</c:v>
                </c:pt>
                <c:pt idx="15">
                  <c:v>0</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AD8D-4A41-90C1-DC6D1C7C52D3}"/>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AD8D-4A41-90C1-DC6D1C7C52D3}"/>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ctivia</c:v>
                  </c:pt>
                  <c:pt idx="2">
                    <c:v>Total</c:v>
                  </c:pt>
                  <c:pt idx="3">
                    <c:v>Activia</c:v>
                  </c:pt>
                  <c:pt idx="4">
                    <c:v>Total</c:v>
                  </c:pt>
                  <c:pt idx="5">
                    <c:v>Activia</c:v>
                  </c:pt>
                  <c:pt idx="6">
                    <c:v>Total</c:v>
                  </c:pt>
                  <c:pt idx="7">
                    <c:v>Activia</c:v>
                  </c:pt>
                  <c:pt idx="8">
                    <c:v>Total</c:v>
                  </c:pt>
                  <c:pt idx="9">
                    <c:v>Activia</c:v>
                  </c:pt>
                  <c:pt idx="10">
                    <c:v>Total</c:v>
                  </c:pt>
                  <c:pt idx="11">
                    <c:v>Activia</c:v>
                  </c:pt>
                  <c:pt idx="12">
                    <c:v>Total</c:v>
                  </c:pt>
                  <c:pt idx="13">
                    <c:v>Activia</c:v>
                  </c:pt>
                  <c:pt idx="14">
                    <c:v>Total</c:v>
                  </c:pt>
                  <c:pt idx="15">
                    <c:v>Activia</c:v>
                  </c:pt>
                  <c:pt idx="16">
                    <c:v>Total</c:v>
                  </c:pt>
                  <c:pt idx="17">
                    <c:v>Activia</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0</c:v>
                </c:pt>
                <c:pt idx="2">
                  <c:v>8</c:v>
                </c:pt>
                <c:pt idx="3">
                  <c:v>0</c:v>
                </c:pt>
                <c:pt idx="4">
                  <c:v>7</c:v>
                </c:pt>
                <c:pt idx="5">
                  <c:v>0</c:v>
                </c:pt>
                <c:pt idx="6">
                  <c:v>29.1</c:v>
                </c:pt>
                <c:pt idx="7">
                  <c:v>14.2</c:v>
                </c:pt>
                <c:pt idx="8">
                  <c:v>16.3</c:v>
                </c:pt>
                <c:pt idx="9">
                  <c:v>0</c:v>
                </c:pt>
                <c:pt idx="10">
                  <c:v>14.4</c:v>
                </c:pt>
                <c:pt idx="11">
                  <c:v>0</c:v>
                </c:pt>
                <c:pt idx="12">
                  <c:v>11</c:v>
                </c:pt>
                <c:pt idx="13">
                  <c:v>0</c:v>
                </c:pt>
                <c:pt idx="14">
                  <c:v>13.5</c:v>
                </c:pt>
                <c:pt idx="15">
                  <c:v>0</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D8D-4A41-90C1-DC6D1C7C52D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D8D-4A41-90C1-DC6D1C7C52D3}"/>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D8D-4A41-90C1-DC6D1C7C52D3}"/>
                </c:ext>
              </c:extLst>
            </c:dLbl>
            <c:dLbl>
              <c:idx val="7"/>
              <c:tx>
                <c:rich>
                  <a:bodyPr/>
                  <a:lstStyle/>
                  <a:p>
                    <a:r>
                      <a:t>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D8D-4A41-90C1-DC6D1C7C52D3}"/>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D8D-4A41-90C1-DC6D1C7C52D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D8D-4A41-90C1-DC6D1C7C52D3}"/>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D8D-4A41-90C1-DC6D1C7C52D3}"/>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D8D-4A41-90C1-DC6D1C7C52D3}"/>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D8D-4A41-90C1-DC6D1C7C52D3}"/>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D8D-4A41-90C1-DC6D1C7C52D3}"/>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D8D-4A41-90C1-DC6D1C7C52D3}"/>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D8D-4A41-90C1-DC6D1C7C52D3}"/>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D8D-4A41-90C1-DC6D1C7C52D3}"/>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D8D-4A41-90C1-DC6D1C7C52D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ctivia</c:v>
                  </c:pt>
                  <c:pt idx="2">
                    <c:v>Total</c:v>
                  </c:pt>
                  <c:pt idx="3">
                    <c:v>Activia</c:v>
                  </c:pt>
                  <c:pt idx="4">
                    <c:v>Total</c:v>
                  </c:pt>
                  <c:pt idx="5">
                    <c:v>Activia</c:v>
                  </c:pt>
                  <c:pt idx="6">
                    <c:v>Total</c:v>
                  </c:pt>
                  <c:pt idx="7">
                    <c:v>Activia</c:v>
                  </c:pt>
                  <c:pt idx="8">
                    <c:v>Total</c:v>
                  </c:pt>
                  <c:pt idx="9">
                    <c:v>Activia</c:v>
                  </c:pt>
                  <c:pt idx="10">
                    <c:v>Total</c:v>
                  </c:pt>
                  <c:pt idx="11">
                    <c:v>Activia</c:v>
                  </c:pt>
                  <c:pt idx="12">
                    <c:v>Total</c:v>
                  </c:pt>
                  <c:pt idx="13">
                    <c:v>Activia</c:v>
                  </c:pt>
                  <c:pt idx="14">
                    <c:v>Total</c:v>
                  </c:pt>
                  <c:pt idx="15">
                    <c:v>Activia</c:v>
                  </c:pt>
                  <c:pt idx="16">
                    <c:v>Total</c:v>
                  </c:pt>
                  <c:pt idx="17">
                    <c:v>Activia</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0</c:v>
                </c:pt>
                <c:pt idx="2">
                  <c:v>1.5611999999999999</c:v>
                </c:pt>
                <c:pt idx="3">
                  <c:v>0</c:v>
                </c:pt>
                <c:pt idx="4">
                  <c:v>2.8776000000000002</c:v>
                </c:pt>
                <c:pt idx="5">
                  <c:v>0</c:v>
                </c:pt>
                <c:pt idx="6">
                  <c:v>2.0173999999999999</c:v>
                </c:pt>
                <c:pt idx="7">
                  <c:v>2.1539000000000001</c:v>
                </c:pt>
                <c:pt idx="8">
                  <c:v>3.2549000000000001</c:v>
                </c:pt>
                <c:pt idx="9">
                  <c:v>0</c:v>
                </c:pt>
                <c:pt idx="10">
                  <c:v>2.4232999999999998</c:v>
                </c:pt>
                <c:pt idx="11">
                  <c:v>0</c:v>
                </c:pt>
                <c:pt idx="12">
                  <c:v>3.0051999999999999</c:v>
                </c:pt>
                <c:pt idx="13">
                  <c:v>0</c:v>
                </c:pt>
                <c:pt idx="14">
                  <c:v>2.9733000000000001</c:v>
                </c:pt>
                <c:pt idx="15">
                  <c:v>0</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214C-4C9D-B575-57167CE4FDC0}"/>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214C-4C9D-B575-57167CE4FDC0}"/>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acol</c:v>
                  </c:pt>
                  <c:pt idx="2">
                    <c:v>Total</c:v>
                  </c:pt>
                  <c:pt idx="3">
                    <c:v>Danacol</c:v>
                  </c:pt>
                  <c:pt idx="4">
                    <c:v>Total</c:v>
                  </c:pt>
                  <c:pt idx="5">
                    <c:v>Danacol</c:v>
                  </c:pt>
                  <c:pt idx="6">
                    <c:v>Total</c:v>
                  </c:pt>
                  <c:pt idx="7">
                    <c:v>Danacol</c:v>
                  </c:pt>
                  <c:pt idx="8">
                    <c:v>Total</c:v>
                  </c:pt>
                  <c:pt idx="9">
                    <c:v>Danacol</c:v>
                  </c:pt>
                  <c:pt idx="10">
                    <c:v>Total</c:v>
                  </c:pt>
                  <c:pt idx="11">
                    <c:v>Danacol</c:v>
                  </c:pt>
                  <c:pt idx="12">
                    <c:v>Total</c:v>
                  </c:pt>
                  <c:pt idx="13">
                    <c:v>Danacol</c:v>
                  </c:pt>
                  <c:pt idx="14">
                    <c:v>Total</c:v>
                  </c:pt>
                  <c:pt idx="15">
                    <c:v>Danacol</c:v>
                  </c:pt>
                  <c:pt idx="16">
                    <c:v>Total</c:v>
                  </c:pt>
                  <c:pt idx="17">
                    <c:v>Danacol</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0</c:v>
                </c:pt>
                <c:pt idx="2">
                  <c:v>8</c:v>
                </c:pt>
                <c:pt idx="3">
                  <c:v>0</c:v>
                </c:pt>
                <c:pt idx="4">
                  <c:v>7</c:v>
                </c:pt>
                <c:pt idx="5">
                  <c:v>0</c:v>
                </c:pt>
                <c:pt idx="6">
                  <c:v>29.1</c:v>
                </c:pt>
                <c:pt idx="7">
                  <c:v>0</c:v>
                </c:pt>
                <c:pt idx="8">
                  <c:v>16.3</c:v>
                </c:pt>
                <c:pt idx="9">
                  <c:v>14.3</c:v>
                </c:pt>
                <c:pt idx="10">
                  <c:v>14.4</c:v>
                </c:pt>
                <c:pt idx="11">
                  <c:v>0</c:v>
                </c:pt>
                <c:pt idx="12">
                  <c:v>11</c:v>
                </c:pt>
                <c:pt idx="13">
                  <c:v>0</c:v>
                </c:pt>
                <c:pt idx="14">
                  <c:v>13.5</c:v>
                </c:pt>
                <c:pt idx="15">
                  <c:v>0</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14C-4C9D-B575-57167CE4FDC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14C-4C9D-B575-57167CE4FDC0}"/>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14C-4C9D-B575-57167CE4FDC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14C-4C9D-B575-57167CE4FDC0}"/>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14C-4C9D-B575-57167CE4FDC0}"/>
                </c:ext>
              </c:extLst>
            </c:dLbl>
            <c:dLbl>
              <c:idx val="9"/>
              <c:tx>
                <c:rich>
                  <a:bodyPr/>
                  <a:lstStyle/>
                  <a:p>
                    <a:r>
                      <a:t>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14C-4C9D-B575-57167CE4FDC0}"/>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14C-4C9D-B575-57167CE4FDC0}"/>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14C-4C9D-B575-57167CE4FDC0}"/>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14C-4C9D-B575-57167CE4FDC0}"/>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14C-4C9D-B575-57167CE4FDC0}"/>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14C-4C9D-B575-57167CE4FDC0}"/>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14C-4C9D-B575-57167CE4FDC0}"/>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14C-4C9D-B575-57167CE4FDC0}"/>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14C-4C9D-B575-57167CE4FDC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acol</c:v>
                  </c:pt>
                  <c:pt idx="2">
                    <c:v>Total</c:v>
                  </c:pt>
                  <c:pt idx="3">
                    <c:v>Danacol</c:v>
                  </c:pt>
                  <c:pt idx="4">
                    <c:v>Total</c:v>
                  </c:pt>
                  <c:pt idx="5">
                    <c:v>Danacol</c:v>
                  </c:pt>
                  <c:pt idx="6">
                    <c:v>Total</c:v>
                  </c:pt>
                  <c:pt idx="7">
                    <c:v>Danacol</c:v>
                  </c:pt>
                  <c:pt idx="8">
                    <c:v>Total</c:v>
                  </c:pt>
                  <c:pt idx="9">
                    <c:v>Danacol</c:v>
                  </c:pt>
                  <c:pt idx="10">
                    <c:v>Total</c:v>
                  </c:pt>
                  <c:pt idx="11">
                    <c:v>Danacol</c:v>
                  </c:pt>
                  <c:pt idx="12">
                    <c:v>Total</c:v>
                  </c:pt>
                  <c:pt idx="13">
                    <c:v>Danacol</c:v>
                  </c:pt>
                  <c:pt idx="14">
                    <c:v>Total</c:v>
                  </c:pt>
                  <c:pt idx="15">
                    <c:v>Danacol</c:v>
                  </c:pt>
                  <c:pt idx="16">
                    <c:v>Total</c:v>
                  </c:pt>
                  <c:pt idx="17">
                    <c:v>Danacol</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0</c:v>
                </c:pt>
                <c:pt idx="2">
                  <c:v>1.5611999999999999</c:v>
                </c:pt>
                <c:pt idx="3">
                  <c:v>0</c:v>
                </c:pt>
                <c:pt idx="4">
                  <c:v>2.8776000000000002</c:v>
                </c:pt>
                <c:pt idx="5">
                  <c:v>0</c:v>
                </c:pt>
                <c:pt idx="6">
                  <c:v>2.0173999999999999</c:v>
                </c:pt>
                <c:pt idx="7">
                  <c:v>0</c:v>
                </c:pt>
                <c:pt idx="8">
                  <c:v>3.2549000000000001</c:v>
                </c:pt>
                <c:pt idx="9">
                  <c:v>3.282</c:v>
                </c:pt>
                <c:pt idx="10">
                  <c:v>2.4232999999999998</c:v>
                </c:pt>
                <c:pt idx="11">
                  <c:v>0</c:v>
                </c:pt>
                <c:pt idx="12">
                  <c:v>3.0051999999999999</c:v>
                </c:pt>
                <c:pt idx="13">
                  <c:v>0</c:v>
                </c:pt>
                <c:pt idx="14">
                  <c:v>2.9733000000000001</c:v>
                </c:pt>
                <c:pt idx="15">
                  <c:v>0</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2BC4-4595-B9CE-A22DC264D5D6}"/>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2BC4-4595-B9CE-A22DC264D5D6}"/>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e</c:v>
                  </c:pt>
                  <c:pt idx="2">
                    <c:v>Total</c:v>
                  </c:pt>
                  <c:pt idx="3">
                    <c:v>Danone</c:v>
                  </c:pt>
                  <c:pt idx="4">
                    <c:v>Total</c:v>
                  </c:pt>
                  <c:pt idx="5">
                    <c:v>Danone</c:v>
                  </c:pt>
                  <c:pt idx="6">
                    <c:v>Total</c:v>
                  </c:pt>
                  <c:pt idx="7">
                    <c:v>Danone</c:v>
                  </c:pt>
                  <c:pt idx="8">
                    <c:v>Total</c:v>
                  </c:pt>
                  <c:pt idx="9">
                    <c:v>Danone</c:v>
                  </c:pt>
                  <c:pt idx="10">
                    <c:v>Total</c:v>
                  </c:pt>
                  <c:pt idx="11">
                    <c:v>Danone</c:v>
                  </c:pt>
                  <c:pt idx="12">
                    <c:v>Total</c:v>
                  </c:pt>
                  <c:pt idx="13">
                    <c:v>Danone</c:v>
                  </c:pt>
                  <c:pt idx="14">
                    <c:v>Total</c:v>
                  </c:pt>
                  <c:pt idx="15">
                    <c:v>Danone</c:v>
                  </c:pt>
                  <c:pt idx="16">
                    <c:v>Total</c:v>
                  </c:pt>
                  <c:pt idx="17">
                    <c:v>Danone</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12.7</c:v>
                </c:pt>
                <c:pt idx="2">
                  <c:v>8</c:v>
                </c:pt>
                <c:pt idx="3">
                  <c:v>0</c:v>
                </c:pt>
                <c:pt idx="4">
                  <c:v>7</c:v>
                </c:pt>
                <c:pt idx="5">
                  <c:v>0</c:v>
                </c:pt>
                <c:pt idx="6">
                  <c:v>29.1</c:v>
                </c:pt>
                <c:pt idx="7">
                  <c:v>0</c:v>
                </c:pt>
                <c:pt idx="8">
                  <c:v>16.3</c:v>
                </c:pt>
                <c:pt idx="9">
                  <c:v>0</c:v>
                </c:pt>
                <c:pt idx="10">
                  <c:v>14.4</c:v>
                </c:pt>
                <c:pt idx="11">
                  <c:v>0</c:v>
                </c:pt>
                <c:pt idx="12">
                  <c:v>11</c:v>
                </c:pt>
                <c:pt idx="13">
                  <c:v>0</c:v>
                </c:pt>
                <c:pt idx="14">
                  <c:v>13.5</c:v>
                </c:pt>
                <c:pt idx="15">
                  <c:v>0</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BC4-4595-B9CE-A22DC264D5D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BC4-4595-B9CE-A22DC264D5D6}"/>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BC4-4595-B9CE-A22DC264D5D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BC4-4595-B9CE-A22DC264D5D6}"/>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BC4-4595-B9CE-A22DC264D5D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BC4-4595-B9CE-A22DC264D5D6}"/>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BC4-4595-B9CE-A22DC264D5D6}"/>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BC4-4595-B9CE-A22DC264D5D6}"/>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BC4-4595-B9CE-A22DC264D5D6}"/>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BC4-4595-B9CE-A22DC264D5D6}"/>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BC4-4595-B9CE-A22DC264D5D6}"/>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BC4-4595-B9CE-A22DC264D5D6}"/>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BC4-4595-B9CE-A22DC264D5D6}"/>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BC4-4595-B9CE-A22DC264D5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e</c:v>
                  </c:pt>
                  <c:pt idx="2">
                    <c:v>Total</c:v>
                  </c:pt>
                  <c:pt idx="3">
                    <c:v>Danone</c:v>
                  </c:pt>
                  <c:pt idx="4">
                    <c:v>Total</c:v>
                  </c:pt>
                  <c:pt idx="5">
                    <c:v>Danone</c:v>
                  </c:pt>
                  <c:pt idx="6">
                    <c:v>Total</c:v>
                  </c:pt>
                  <c:pt idx="7">
                    <c:v>Danone</c:v>
                  </c:pt>
                  <c:pt idx="8">
                    <c:v>Total</c:v>
                  </c:pt>
                  <c:pt idx="9">
                    <c:v>Danone</c:v>
                  </c:pt>
                  <c:pt idx="10">
                    <c:v>Total</c:v>
                  </c:pt>
                  <c:pt idx="11">
                    <c:v>Danone</c:v>
                  </c:pt>
                  <c:pt idx="12">
                    <c:v>Total</c:v>
                  </c:pt>
                  <c:pt idx="13">
                    <c:v>Danone</c:v>
                  </c:pt>
                  <c:pt idx="14">
                    <c:v>Total</c:v>
                  </c:pt>
                  <c:pt idx="15">
                    <c:v>Danone</c:v>
                  </c:pt>
                  <c:pt idx="16">
                    <c:v>Total</c:v>
                  </c:pt>
                  <c:pt idx="17">
                    <c:v>Danone</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1.2534000000000001</c:v>
                </c:pt>
                <c:pt idx="2">
                  <c:v>1.5611999999999999</c:v>
                </c:pt>
                <c:pt idx="3">
                  <c:v>0</c:v>
                </c:pt>
                <c:pt idx="4">
                  <c:v>2.8776000000000002</c:v>
                </c:pt>
                <c:pt idx="5">
                  <c:v>0</c:v>
                </c:pt>
                <c:pt idx="6">
                  <c:v>2.0173999999999999</c:v>
                </c:pt>
                <c:pt idx="7">
                  <c:v>0</c:v>
                </c:pt>
                <c:pt idx="8">
                  <c:v>3.2549000000000001</c:v>
                </c:pt>
                <c:pt idx="9">
                  <c:v>0</c:v>
                </c:pt>
                <c:pt idx="10">
                  <c:v>2.4232999999999998</c:v>
                </c:pt>
                <c:pt idx="11">
                  <c:v>0</c:v>
                </c:pt>
                <c:pt idx="12">
                  <c:v>3.0051999999999999</c:v>
                </c:pt>
                <c:pt idx="13">
                  <c:v>0</c:v>
                </c:pt>
                <c:pt idx="14">
                  <c:v>2.9733000000000001</c:v>
                </c:pt>
                <c:pt idx="15">
                  <c:v>0</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2D49-450C-BD9B-13478BF19E82}"/>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2D49-450C-BD9B-13478BF19E82}"/>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ino</c:v>
                  </c:pt>
                  <c:pt idx="2">
                    <c:v>Total</c:v>
                  </c:pt>
                  <c:pt idx="3">
                    <c:v>Danonino</c:v>
                  </c:pt>
                  <c:pt idx="4">
                    <c:v>Total</c:v>
                  </c:pt>
                  <c:pt idx="5">
                    <c:v>Danonino</c:v>
                  </c:pt>
                  <c:pt idx="6">
                    <c:v>Total</c:v>
                  </c:pt>
                  <c:pt idx="7">
                    <c:v>Danonino</c:v>
                  </c:pt>
                  <c:pt idx="8">
                    <c:v>Total</c:v>
                  </c:pt>
                  <c:pt idx="9">
                    <c:v>Danonino</c:v>
                  </c:pt>
                  <c:pt idx="10">
                    <c:v>Total</c:v>
                  </c:pt>
                  <c:pt idx="11">
                    <c:v>Danonino</c:v>
                  </c:pt>
                  <c:pt idx="12">
                    <c:v>Total</c:v>
                  </c:pt>
                  <c:pt idx="13">
                    <c:v>Danonino</c:v>
                  </c:pt>
                  <c:pt idx="14">
                    <c:v>Total</c:v>
                  </c:pt>
                  <c:pt idx="15">
                    <c:v>Danonino</c:v>
                  </c:pt>
                  <c:pt idx="16">
                    <c:v>Total</c:v>
                  </c:pt>
                  <c:pt idx="17">
                    <c:v>Danonino</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0</c:v>
                </c:pt>
                <c:pt idx="2">
                  <c:v>8</c:v>
                </c:pt>
                <c:pt idx="3">
                  <c:v>0</c:v>
                </c:pt>
                <c:pt idx="4">
                  <c:v>7</c:v>
                </c:pt>
                <c:pt idx="5">
                  <c:v>4.4000000000000004</c:v>
                </c:pt>
                <c:pt idx="6">
                  <c:v>29.1</c:v>
                </c:pt>
                <c:pt idx="7">
                  <c:v>0</c:v>
                </c:pt>
                <c:pt idx="8">
                  <c:v>16.3</c:v>
                </c:pt>
                <c:pt idx="9">
                  <c:v>0</c:v>
                </c:pt>
                <c:pt idx="10">
                  <c:v>14.4</c:v>
                </c:pt>
                <c:pt idx="11">
                  <c:v>0</c:v>
                </c:pt>
                <c:pt idx="12">
                  <c:v>11</c:v>
                </c:pt>
                <c:pt idx="13">
                  <c:v>0</c:v>
                </c:pt>
                <c:pt idx="14">
                  <c:v>13.5</c:v>
                </c:pt>
                <c:pt idx="15">
                  <c:v>0</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2D49-450C-BD9B-13478BF19E82}"/>
                </c:ext>
              </c:extLst>
            </c:dLbl>
            <c:dLbl>
              <c:idx val="5"/>
              <c:tx>
                <c:rich>
                  <a:bodyPr/>
                  <a:lstStyle/>
                  <a:p>
                    <a:r>
                      <a:t>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2D49-450C-BD9B-13478BF19E82}"/>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2D49-450C-BD9B-13478BF19E8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2D49-450C-BD9B-13478BF19E82}"/>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2D49-450C-BD9B-13478BF19E8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2D49-450C-BD9B-13478BF19E82}"/>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2D49-450C-BD9B-13478BF19E82}"/>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2D49-450C-BD9B-13478BF19E82}"/>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2D49-450C-BD9B-13478BF19E82}"/>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2D49-450C-BD9B-13478BF19E82}"/>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2D49-450C-BD9B-13478BF19E82}"/>
                </c:ext>
              </c:extLst>
            </c:dLbl>
            <c:dLbl>
              <c:idx val="1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2D49-450C-BD9B-13478BF19E82}"/>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2D49-450C-BD9B-13478BF19E82}"/>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2D49-450C-BD9B-13478BF19E8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Danonino</c:v>
                  </c:pt>
                  <c:pt idx="2">
                    <c:v>Total</c:v>
                  </c:pt>
                  <c:pt idx="3">
                    <c:v>Danonino</c:v>
                  </c:pt>
                  <c:pt idx="4">
                    <c:v>Total</c:v>
                  </c:pt>
                  <c:pt idx="5">
                    <c:v>Danonino</c:v>
                  </c:pt>
                  <c:pt idx="6">
                    <c:v>Total</c:v>
                  </c:pt>
                  <c:pt idx="7">
                    <c:v>Danonino</c:v>
                  </c:pt>
                  <c:pt idx="8">
                    <c:v>Total</c:v>
                  </c:pt>
                  <c:pt idx="9">
                    <c:v>Danonino</c:v>
                  </c:pt>
                  <c:pt idx="10">
                    <c:v>Total</c:v>
                  </c:pt>
                  <c:pt idx="11">
                    <c:v>Danonino</c:v>
                  </c:pt>
                  <c:pt idx="12">
                    <c:v>Total</c:v>
                  </c:pt>
                  <c:pt idx="13">
                    <c:v>Danonino</c:v>
                  </c:pt>
                  <c:pt idx="14">
                    <c:v>Total</c:v>
                  </c:pt>
                  <c:pt idx="15">
                    <c:v>Danonino</c:v>
                  </c:pt>
                  <c:pt idx="16">
                    <c:v>Total</c:v>
                  </c:pt>
                  <c:pt idx="17">
                    <c:v>Danonino</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0</c:v>
                </c:pt>
                <c:pt idx="2">
                  <c:v>1.5611999999999999</c:v>
                </c:pt>
                <c:pt idx="3">
                  <c:v>0</c:v>
                </c:pt>
                <c:pt idx="4">
                  <c:v>2.8776000000000002</c:v>
                </c:pt>
                <c:pt idx="5">
                  <c:v>2.6071</c:v>
                </c:pt>
                <c:pt idx="6">
                  <c:v>2.0173999999999999</c:v>
                </c:pt>
                <c:pt idx="7">
                  <c:v>0</c:v>
                </c:pt>
                <c:pt idx="8">
                  <c:v>3.2549000000000001</c:v>
                </c:pt>
                <c:pt idx="9">
                  <c:v>0</c:v>
                </c:pt>
                <c:pt idx="10">
                  <c:v>2.4232999999999998</c:v>
                </c:pt>
                <c:pt idx="11">
                  <c:v>0</c:v>
                </c:pt>
                <c:pt idx="12">
                  <c:v>3.0051999999999999</c:v>
                </c:pt>
                <c:pt idx="13">
                  <c:v>0</c:v>
                </c:pt>
                <c:pt idx="14">
                  <c:v>2.9733000000000001</c:v>
                </c:pt>
                <c:pt idx="15">
                  <c:v>0</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5A14C0-58CF-4627-B75B-7A4D27AEB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031498-5179-4D16-AA63-F04C7E84C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B36499D-EDD8-48AE-ADB3-9F5F9260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429EFA-0B60-489A-9269-0FB16663A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99EAA5B-5068-4C3F-8671-8BB64DA964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CFD7A6A-C6AA-4910-8485-3B162F677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4AA869-B02A-4E27-9A0D-2D7EFA55B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5B74F4-B02E-44F3-ABEC-965F054FC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444000000000001</c:v>
                </c:pt>
                <c:pt idx="1">
                  <c:v>1.4240999999999999</c:v>
                </c:pt>
              </c:numCache>
            </c:numRef>
          </c:xVal>
          <c:yVal>
            <c:numRef>
              <c:f>Sheet1!$B$2:$B$3</c:f>
              <c:numCache>
                <c:formatCode>General</c:formatCode>
                <c:ptCount val="2"/>
                <c:pt idx="0">
                  <c:v>0.98899999999999999</c:v>
                </c:pt>
                <c:pt idx="1">
                  <c:v>1.1970000000000001</c:v>
                </c:pt>
              </c:numCache>
            </c:numRef>
          </c:yVal>
          <c:bubbleSize>
            <c:numRef>
              <c:f>Sheet1!$C$2:$C$3</c:f>
              <c:numCache>
                <c:formatCode>General</c:formatCode>
                <c:ptCount val="2"/>
                <c:pt idx="0">
                  <c:v>12600909</c:v>
                </c:pt>
                <c:pt idx="1">
                  <c:v>884286</c:v>
                </c:pt>
              </c:numCache>
            </c:numRef>
          </c:bubbleSize>
          <c:bubble3D val="0"/>
          <c:extLst>
            <c:ext xmlns:c15="http://schemas.microsoft.com/office/drawing/2012/chart" uri="{02D57815-91ED-43cb-92C2-25804820EDAC}">
              <c15:datalabelsRange>
                <c15:f>Sheet1!$E$2:$E$10</c15:f>
                <c15:dlblRangeCache>
                  <c:ptCount val="9"/>
                  <c:pt idx="0">
                    <c:v>Alpro</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27-887B-408D-9459-EF94DC54CFFA}"/>
              </c:ext>
            </c:extLst>
          </c:dPt>
          <c:dPt>
            <c:idx val="5"/>
            <c:invertIfNegative val="0"/>
            <c:bubble3D val="0"/>
            <c:spPr>
              <a:solidFill>
                <a:srgbClr val="CBEAE7"/>
              </a:solidFill>
              <a:ln>
                <a:noFill/>
              </a:ln>
              <a:effectLst/>
            </c:spPr>
            <c:extLst>
              <c:ext xmlns:c16="http://schemas.microsoft.com/office/drawing/2014/chart" uri="{C3380CC4-5D6E-409C-BE32-E72D297353CC}">
                <c16:uniqueId val="{00000006-C486-4167-8002-0794DD94CC5C}"/>
              </c:ext>
            </c:extLst>
          </c:dPt>
          <c:dPt>
            <c:idx val="6"/>
            <c:invertIfNegative val="1"/>
            <c:bubble3D val="0"/>
            <c:spPr>
              <a:solidFill>
                <a:srgbClr val="CFCECE"/>
              </a:solidFill>
              <a:ln>
                <a:noFill/>
              </a:ln>
              <a:effectLst/>
            </c:spPr>
            <c:extLst>
              <c:ext xmlns:c16="http://schemas.microsoft.com/office/drawing/2014/chart" uri="{C3380CC4-5D6E-409C-BE32-E72D297353CC}">
                <c16:uniqueId val="{00000029-887B-408D-9459-EF94DC54CFFA}"/>
              </c:ext>
            </c:extLst>
          </c:dPt>
          <c:dPt>
            <c:idx val="7"/>
            <c:invertIfNegative val="0"/>
            <c:bubble3D val="0"/>
            <c:spPr>
              <a:solidFill>
                <a:srgbClr val="CBEAE7"/>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CFCECE"/>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lpro</c:v>
                  </c:pt>
                  <c:pt idx="2">
                    <c:v>Total</c:v>
                  </c:pt>
                  <c:pt idx="3">
                    <c:v>Alpro</c:v>
                  </c:pt>
                  <c:pt idx="4">
                    <c:v>Total</c:v>
                  </c:pt>
                  <c:pt idx="5">
                    <c:v>Alpro</c:v>
                  </c:pt>
                  <c:pt idx="6">
                    <c:v>Total</c:v>
                  </c:pt>
                  <c:pt idx="7">
                    <c:v>Alpro</c:v>
                  </c:pt>
                  <c:pt idx="8">
                    <c:v>Total</c:v>
                  </c:pt>
                  <c:pt idx="9">
                    <c:v>Alpro</c:v>
                  </c:pt>
                  <c:pt idx="10">
                    <c:v>Total</c:v>
                  </c:pt>
                  <c:pt idx="11">
                    <c:v>Alpro</c:v>
                  </c:pt>
                  <c:pt idx="12">
                    <c:v>Total</c:v>
                  </c:pt>
                  <c:pt idx="13">
                    <c:v>Alpro</c:v>
                  </c:pt>
                  <c:pt idx="14">
                    <c:v>Total</c:v>
                  </c:pt>
                  <c:pt idx="15">
                    <c:v>Alpro</c:v>
                  </c:pt>
                  <c:pt idx="16">
                    <c:v>Total</c:v>
                  </c:pt>
                  <c:pt idx="17">
                    <c:v>Alpro</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D$2:$D$19</c:f>
              <c:numCache>
                <c:formatCode>General</c:formatCode>
                <c:ptCount val="18"/>
                <c:pt idx="0">
                  <c:v>20.6</c:v>
                </c:pt>
                <c:pt idx="1">
                  <c:v>0</c:v>
                </c:pt>
                <c:pt idx="2">
                  <c:v>8</c:v>
                </c:pt>
                <c:pt idx="3">
                  <c:v>0</c:v>
                </c:pt>
                <c:pt idx="4">
                  <c:v>7</c:v>
                </c:pt>
                <c:pt idx="5">
                  <c:v>0</c:v>
                </c:pt>
                <c:pt idx="6">
                  <c:v>29.1</c:v>
                </c:pt>
                <c:pt idx="7">
                  <c:v>0</c:v>
                </c:pt>
                <c:pt idx="8">
                  <c:v>16.3</c:v>
                </c:pt>
                <c:pt idx="9">
                  <c:v>0</c:v>
                </c:pt>
                <c:pt idx="10">
                  <c:v>14.4</c:v>
                </c:pt>
                <c:pt idx="11">
                  <c:v>0</c:v>
                </c:pt>
                <c:pt idx="12">
                  <c:v>11</c:v>
                </c:pt>
                <c:pt idx="13">
                  <c:v>0</c:v>
                </c:pt>
                <c:pt idx="14">
                  <c:v>13.5</c:v>
                </c:pt>
                <c:pt idx="15">
                  <c:v>12.6</c:v>
                </c:pt>
                <c:pt idx="16">
                  <c:v>22</c:v>
                </c:pt>
                <c:pt idx="1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887B-408D-9459-EF94DC54CFF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87B-408D-9459-EF94DC54CFFA}"/>
                </c:ext>
              </c:extLst>
            </c:dLbl>
            <c:dLbl>
              <c:idx val="6"/>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887B-408D-9459-EF94DC54CFF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87B-408D-9459-EF94DC54CFFA}"/>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887B-408D-9459-EF94DC54CFF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87B-408D-9459-EF94DC54CFFA}"/>
                </c:ext>
              </c:extLst>
            </c:dLbl>
            <c:dLbl>
              <c:idx val="10"/>
              <c:tx>
                <c:rich>
                  <a:bodyPr/>
                  <a:lstStyle/>
                  <a:p>
                    <a:r>
                      <a:t>2.4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887B-408D-9459-EF94DC54CFFA}"/>
                </c:ext>
              </c:extLst>
            </c:dLbl>
            <c:dLbl>
              <c:idx val="1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87B-408D-9459-EF94DC54CFFA}"/>
                </c:ext>
              </c:extLst>
            </c:dLbl>
            <c:dLbl>
              <c:idx val="12"/>
              <c:tx>
                <c:rich>
                  <a:bodyPr/>
                  <a:lstStyle/>
                  <a:p>
                    <a:r>
                      <a:t>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887B-408D-9459-EF94DC54CFFA}"/>
                </c:ext>
              </c:extLst>
            </c:dLbl>
            <c:dLbl>
              <c:idx val="1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87B-408D-9459-EF94DC54CFFA}"/>
                </c:ext>
              </c:extLst>
            </c:dLbl>
            <c:dLbl>
              <c:idx val="14"/>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887B-408D-9459-EF94DC54CFFA}"/>
                </c:ext>
              </c:extLst>
            </c:dLbl>
            <c:dLbl>
              <c:idx val="15"/>
              <c:tx>
                <c:rich>
                  <a:bodyPr/>
                  <a:lstStyle/>
                  <a:p>
                    <a:r>
                      <a:t>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87B-408D-9459-EF94DC54CFFA}"/>
                </c:ext>
              </c:extLst>
            </c:dLbl>
            <c:dLbl>
              <c:idx val="1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887B-408D-9459-EF94DC54CFFA}"/>
                </c:ext>
              </c:extLst>
            </c:dLbl>
            <c:dLbl>
              <c:idx val="1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87B-408D-9459-EF94DC54CF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19</c:f>
              <c:multiLvlStrCache>
                <c:ptCount val="18"/>
                <c:lvl>
                  <c:pt idx="0">
                    <c:v>Total</c:v>
                  </c:pt>
                  <c:pt idx="1">
                    <c:v>Alpro</c:v>
                  </c:pt>
                  <c:pt idx="2">
                    <c:v>Total</c:v>
                  </c:pt>
                  <c:pt idx="3">
                    <c:v>Alpro</c:v>
                  </c:pt>
                  <c:pt idx="4">
                    <c:v>Total</c:v>
                  </c:pt>
                  <c:pt idx="5">
                    <c:v>Alpro</c:v>
                  </c:pt>
                  <c:pt idx="6">
                    <c:v>Total</c:v>
                  </c:pt>
                  <c:pt idx="7">
                    <c:v>Alpro</c:v>
                  </c:pt>
                  <c:pt idx="8">
                    <c:v>Total</c:v>
                  </c:pt>
                  <c:pt idx="9">
                    <c:v>Alpro</c:v>
                  </c:pt>
                  <c:pt idx="10">
                    <c:v>Total</c:v>
                  </c:pt>
                  <c:pt idx="11">
                    <c:v>Alpro</c:v>
                  </c:pt>
                  <c:pt idx="12">
                    <c:v>Total</c:v>
                  </c:pt>
                  <c:pt idx="13">
                    <c:v>Alpro</c:v>
                  </c:pt>
                  <c:pt idx="14">
                    <c:v>Total</c:v>
                  </c:pt>
                  <c:pt idx="15">
                    <c:v>Alpro</c:v>
                  </c:pt>
                  <c:pt idx="16">
                    <c:v>Total</c:v>
                  </c:pt>
                  <c:pt idx="17">
                    <c:v>Alpro</c:v>
                  </c:pt>
                </c:lvl>
                <c:lvl>
                  <c:pt idx="0">
                    <c:v>Essential</c:v>
                  </c:pt>
                  <c:pt idx="2">
                    <c:v>Light</c:v>
                  </c:pt>
                  <c:pt idx="4">
                    <c:v>Kids</c:v>
                  </c:pt>
                  <c:pt idx="6">
                    <c:v>Bifidus</c:v>
                  </c:pt>
                  <c:pt idx="8">
                    <c:v>Cholesterol</c:v>
                  </c:pt>
                  <c:pt idx="10">
                    <c:v>Immunity</c:v>
                  </c:pt>
                  <c:pt idx="12">
                    <c:v>Kefir</c:v>
                  </c:pt>
                  <c:pt idx="14">
                    <c:v>Plant Based</c:v>
                  </c:pt>
                  <c:pt idx="16">
                    <c:v>Protein</c:v>
                  </c:pt>
                </c:lvl>
                <c:lvl>
                  <c:pt idx="0">
                    <c:v>Every Day Nutrition</c:v>
                  </c:pt>
                  <c:pt idx="6">
                    <c:v>Functionals</c:v>
                  </c:pt>
                  <c:pt idx="14">
                    <c:v>Plant Based</c:v>
                  </c:pt>
                  <c:pt idx="16">
                    <c:v>Protein</c:v>
                  </c:pt>
                </c:lvl>
              </c:multiLvlStrCache>
            </c:multiLvlStrRef>
          </c:cat>
          <c:val>
            <c:numRef>
              <c:f>Sheet1!$E$2:$E$19</c:f>
              <c:numCache>
                <c:formatCode>General</c:formatCode>
                <c:ptCount val="18"/>
                <c:pt idx="0">
                  <c:v>1.3826000000000001</c:v>
                </c:pt>
                <c:pt idx="1">
                  <c:v>0</c:v>
                </c:pt>
                <c:pt idx="2">
                  <c:v>1.5611999999999999</c:v>
                </c:pt>
                <c:pt idx="3">
                  <c:v>0</c:v>
                </c:pt>
                <c:pt idx="4">
                  <c:v>2.8776000000000002</c:v>
                </c:pt>
                <c:pt idx="5">
                  <c:v>0</c:v>
                </c:pt>
                <c:pt idx="6">
                  <c:v>2.0173999999999999</c:v>
                </c:pt>
                <c:pt idx="7">
                  <c:v>0</c:v>
                </c:pt>
                <c:pt idx="8">
                  <c:v>3.2549000000000001</c:v>
                </c:pt>
                <c:pt idx="9">
                  <c:v>0</c:v>
                </c:pt>
                <c:pt idx="10">
                  <c:v>2.4232999999999998</c:v>
                </c:pt>
                <c:pt idx="11">
                  <c:v>0</c:v>
                </c:pt>
                <c:pt idx="12">
                  <c:v>3.0051999999999999</c:v>
                </c:pt>
                <c:pt idx="13">
                  <c:v>0</c:v>
                </c:pt>
                <c:pt idx="14">
                  <c:v>2.9733000000000001</c:v>
                </c:pt>
                <c:pt idx="15">
                  <c:v>2.9392999999999998</c:v>
                </c:pt>
                <c:pt idx="16">
                  <c:v>3.9070999999999998</c:v>
                </c:pt>
                <c:pt idx="1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e Group</c:v>
                  </c:pt>
                  <c:pt idx="2">
                    <c:v>Total</c:v>
                  </c:pt>
                  <c:pt idx="3">
                    <c:v>Danone Group</c:v>
                  </c:pt>
                  <c:pt idx="4">
                    <c:v>Total</c:v>
                  </c:pt>
                  <c:pt idx="5">
                    <c:v>Danone Group</c:v>
                  </c:pt>
                  <c:pt idx="6">
                    <c:v>Total</c:v>
                  </c:pt>
                  <c:pt idx="7">
                    <c:v>Danone Group</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12.7</c:v>
                </c:pt>
                <c:pt idx="2">
                  <c:v>32</c:v>
                </c:pt>
                <c:pt idx="3">
                  <c:v>0</c:v>
                </c:pt>
                <c:pt idx="4">
                  <c:v>6.1</c:v>
                </c:pt>
                <c:pt idx="5">
                  <c:v>4.4000000000000004</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032-4561-83F1-D5932CE9596B}"/>
                </c:ext>
              </c:extLst>
            </c:dLbl>
            <c:dLbl>
              <c:idx val="5"/>
              <c:tx>
                <c:rich>
                  <a:bodyPr/>
                  <a:lstStyle/>
                  <a:p>
                    <a:r>
                      <a:t>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032-4561-83F1-D5932CE9596B}"/>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032-4561-83F1-D5932CE9596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032-4561-83F1-D5932CE9596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e Group</c:v>
                  </c:pt>
                  <c:pt idx="2">
                    <c:v>Total</c:v>
                  </c:pt>
                  <c:pt idx="3">
                    <c:v>Danone Group</c:v>
                  </c:pt>
                  <c:pt idx="4">
                    <c:v>Total</c:v>
                  </c:pt>
                  <c:pt idx="5">
                    <c:v>Danone Group</c:v>
                  </c:pt>
                  <c:pt idx="6">
                    <c:v>Total</c:v>
                  </c:pt>
                  <c:pt idx="7">
                    <c:v>Danone Group</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1.2534000000000001</c:v>
                </c:pt>
                <c:pt idx="2">
                  <c:v>2.2387999999999999</c:v>
                </c:pt>
                <c:pt idx="3">
                  <c:v>0</c:v>
                </c:pt>
                <c:pt idx="4">
                  <c:v>2.74</c:v>
                </c:pt>
                <c:pt idx="5">
                  <c:v>2.6071</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ctimel</c:v>
                  </c:pt>
                  <c:pt idx="2">
                    <c:v>Total</c:v>
                  </c:pt>
                  <c:pt idx="3">
                    <c:v>Actimel</c:v>
                  </c:pt>
                  <c:pt idx="4">
                    <c:v>Total</c:v>
                  </c:pt>
                  <c:pt idx="5">
                    <c:v>Actimel</c:v>
                  </c:pt>
                  <c:pt idx="6">
                    <c:v>Total</c:v>
                  </c:pt>
                  <c:pt idx="7">
                    <c:v>Actimel</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0</c:v>
                </c:pt>
                <c:pt idx="2">
                  <c:v>32</c:v>
                </c:pt>
                <c:pt idx="3">
                  <c:v>0</c:v>
                </c:pt>
                <c:pt idx="4">
                  <c:v>6.1</c:v>
                </c:pt>
                <c:pt idx="5">
                  <c:v>0</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EE0-4FAE-83D0-B363AA2236D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EE0-4FAE-83D0-B363AA2236D1}"/>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EE0-4FAE-83D0-B363AA2236D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EE0-4FAE-83D0-B363AA2236D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ctimel</c:v>
                  </c:pt>
                  <c:pt idx="2">
                    <c:v>Total</c:v>
                  </c:pt>
                  <c:pt idx="3">
                    <c:v>Actimel</c:v>
                  </c:pt>
                  <c:pt idx="4">
                    <c:v>Total</c:v>
                  </c:pt>
                  <c:pt idx="5">
                    <c:v>Actimel</c:v>
                  </c:pt>
                  <c:pt idx="6">
                    <c:v>Total</c:v>
                  </c:pt>
                  <c:pt idx="7">
                    <c:v>Actimel</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0</c:v>
                </c:pt>
                <c:pt idx="2">
                  <c:v>2.2387999999999999</c:v>
                </c:pt>
                <c:pt idx="3">
                  <c:v>0</c:v>
                </c:pt>
                <c:pt idx="4">
                  <c:v>2.74</c:v>
                </c:pt>
                <c:pt idx="5">
                  <c:v>0</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ctivia</c:v>
                  </c:pt>
                  <c:pt idx="2">
                    <c:v>Total</c:v>
                  </c:pt>
                  <c:pt idx="3">
                    <c:v>Activia</c:v>
                  </c:pt>
                  <c:pt idx="4">
                    <c:v>Total</c:v>
                  </c:pt>
                  <c:pt idx="5">
                    <c:v>Activia</c:v>
                  </c:pt>
                  <c:pt idx="6">
                    <c:v>Total</c:v>
                  </c:pt>
                  <c:pt idx="7">
                    <c:v>Activia</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0</c:v>
                </c:pt>
                <c:pt idx="2">
                  <c:v>32</c:v>
                </c:pt>
                <c:pt idx="3">
                  <c:v>0</c:v>
                </c:pt>
                <c:pt idx="4">
                  <c:v>6.1</c:v>
                </c:pt>
                <c:pt idx="5">
                  <c:v>0</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516-48AB-A91F-E73DEA1EB1D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516-48AB-A91F-E73DEA1EB1DA}"/>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516-48AB-A91F-E73DEA1EB1D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516-48AB-A91F-E73DEA1EB1D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ctivia</c:v>
                  </c:pt>
                  <c:pt idx="2">
                    <c:v>Total</c:v>
                  </c:pt>
                  <c:pt idx="3">
                    <c:v>Activia</c:v>
                  </c:pt>
                  <c:pt idx="4">
                    <c:v>Total</c:v>
                  </c:pt>
                  <c:pt idx="5">
                    <c:v>Activia</c:v>
                  </c:pt>
                  <c:pt idx="6">
                    <c:v>Total</c:v>
                  </c:pt>
                  <c:pt idx="7">
                    <c:v>Activia</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0</c:v>
                </c:pt>
                <c:pt idx="2">
                  <c:v>2.2387999999999999</c:v>
                </c:pt>
                <c:pt idx="3">
                  <c:v>0</c:v>
                </c:pt>
                <c:pt idx="4">
                  <c:v>2.74</c:v>
                </c:pt>
                <c:pt idx="5">
                  <c:v>0</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acol</c:v>
                  </c:pt>
                  <c:pt idx="2">
                    <c:v>Total</c:v>
                  </c:pt>
                  <c:pt idx="3">
                    <c:v>Danacol</c:v>
                  </c:pt>
                  <c:pt idx="4">
                    <c:v>Total</c:v>
                  </c:pt>
                  <c:pt idx="5">
                    <c:v>Danacol</c:v>
                  </c:pt>
                  <c:pt idx="6">
                    <c:v>Total</c:v>
                  </c:pt>
                  <c:pt idx="7">
                    <c:v>Danacol</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0</c:v>
                </c:pt>
                <c:pt idx="2">
                  <c:v>32</c:v>
                </c:pt>
                <c:pt idx="3">
                  <c:v>0</c:v>
                </c:pt>
                <c:pt idx="4">
                  <c:v>6.1</c:v>
                </c:pt>
                <c:pt idx="5">
                  <c:v>0</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5EB-43E6-96B9-317B47FA87F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5EB-43E6-96B9-317B47FA87F1}"/>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5EB-43E6-96B9-317B47FA87F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5EB-43E6-96B9-317B47FA87F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acol</c:v>
                  </c:pt>
                  <c:pt idx="2">
                    <c:v>Total</c:v>
                  </c:pt>
                  <c:pt idx="3">
                    <c:v>Danacol</c:v>
                  </c:pt>
                  <c:pt idx="4">
                    <c:v>Total</c:v>
                  </c:pt>
                  <c:pt idx="5">
                    <c:v>Danacol</c:v>
                  </c:pt>
                  <c:pt idx="6">
                    <c:v>Total</c:v>
                  </c:pt>
                  <c:pt idx="7">
                    <c:v>Danacol</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0</c:v>
                </c:pt>
                <c:pt idx="2">
                  <c:v>2.2387999999999999</c:v>
                </c:pt>
                <c:pt idx="3">
                  <c:v>0</c:v>
                </c:pt>
                <c:pt idx="4">
                  <c:v>2.74</c:v>
                </c:pt>
                <c:pt idx="5">
                  <c:v>0</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e</c:v>
                  </c:pt>
                  <c:pt idx="2">
                    <c:v>Total</c:v>
                  </c:pt>
                  <c:pt idx="3">
                    <c:v>Danone</c:v>
                  </c:pt>
                  <c:pt idx="4">
                    <c:v>Total</c:v>
                  </c:pt>
                  <c:pt idx="5">
                    <c:v>Danone</c:v>
                  </c:pt>
                  <c:pt idx="6">
                    <c:v>Total</c:v>
                  </c:pt>
                  <c:pt idx="7">
                    <c:v>Danone</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12.7</c:v>
                </c:pt>
                <c:pt idx="2">
                  <c:v>32</c:v>
                </c:pt>
                <c:pt idx="3">
                  <c:v>0</c:v>
                </c:pt>
                <c:pt idx="4">
                  <c:v>6.1</c:v>
                </c:pt>
                <c:pt idx="5">
                  <c:v>0</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318-49AC-91E4-EAEF00AE4B1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318-49AC-91E4-EAEF00AE4B1C}"/>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318-49AC-91E4-EAEF00AE4B1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318-49AC-91E4-EAEF00AE4B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e</c:v>
                  </c:pt>
                  <c:pt idx="2">
                    <c:v>Total</c:v>
                  </c:pt>
                  <c:pt idx="3">
                    <c:v>Danone</c:v>
                  </c:pt>
                  <c:pt idx="4">
                    <c:v>Total</c:v>
                  </c:pt>
                  <c:pt idx="5">
                    <c:v>Danone</c:v>
                  </c:pt>
                  <c:pt idx="6">
                    <c:v>Total</c:v>
                  </c:pt>
                  <c:pt idx="7">
                    <c:v>Danone</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1.2534000000000001</c:v>
                </c:pt>
                <c:pt idx="2">
                  <c:v>2.2387999999999999</c:v>
                </c:pt>
                <c:pt idx="3">
                  <c:v>0</c:v>
                </c:pt>
                <c:pt idx="4">
                  <c:v>2.74</c:v>
                </c:pt>
                <c:pt idx="5">
                  <c:v>0</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ino</c:v>
                  </c:pt>
                  <c:pt idx="2">
                    <c:v>Total</c:v>
                  </c:pt>
                  <c:pt idx="3">
                    <c:v>Danonino</c:v>
                  </c:pt>
                  <c:pt idx="4">
                    <c:v>Total</c:v>
                  </c:pt>
                  <c:pt idx="5">
                    <c:v>Danonino</c:v>
                  </c:pt>
                  <c:pt idx="6">
                    <c:v>Total</c:v>
                  </c:pt>
                  <c:pt idx="7">
                    <c:v>Danonino</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0</c:v>
                </c:pt>
                <c:pt idx="2">
                  <c:v>32</c:v>
                </c:pt>
                <c:pt idx="3">
                  <c:v>0</c:v>
                </c:pt>
                <c:pt idx="4">
                  <c:v>6.1</c:v>
                </c:pt>
                <c:pt idx="5">
                  <c:v>4.4000000000000004</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D72-4022-9DF2-8097BF02F2C3}"/>
                </c:ext>
              </c:extLst>
            </c:dLbl>
            <c:dLbl>
              <c:idx val="5"/>
              <c:tx>
                <c:rich>
                  <a:bodyPr/>
                  <a:lstStyle/>
                  <a:p>
                    <a:r>
                      <a:t>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D72-4022-9DF2-8097BF02F2C3}"/>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D72-4022-9DF2-8097BF02F2C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D72-4022-9DF2-8097BF02F2C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Danonino</c:v>
                  </c:pt>
                  <c:pt idx="2">
                    <c:v>Total</c:v>
                  </c:pt>
                  <c:pt idx="3">
                    <c:v>Danonino</c:v>
                  </c:pt>
                  <c:pt idx="4">
                    <c:v>Total</c:v>
                  </c:pt>
                  <c:pt idx="5">
                    <c:v>Danonino</c:v>
                  </c:pt>
                  <c:pt idx="6">
                    <c:v>Total</c:v>
                  </c:pt>
                  <c:pt idx="7">
                    <c:v>Danonino</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0</c:v>
                </c:pt>
                <c:pt idx="2">
                  <c:v>2.2387999999999999</c:v>
                </c:pt>
                <c:pt idx="3">
                  <c:v>0</c:v>
                </c:pt>
                <c:pt idx="4">
                  <c:v>2.74</c:v>
                </c:pt>
                <c:pt idx="5">
                  <c:v>2.6071</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lpro</c:v>
                  </c:pt>
                  <c:pt idx="2">
                    <c:v>Total</c:v>
                  </c:pt>
                  <c:pt idx="3">
                    <c:v>Alpro</c:v>
                  </c:pt>
                  <c:pt idx="4">
                    <c:v>Total</c:v>
                  </c:pt>
                  <c:pt idx="5">
                    <c:v>Alpro</c:v>
                  </c:pt>
                  <c:pt idx="6">
                    <c:v>Total</c:v>
                  </c:pt>
                  <c:pt idx="7">
                    <c:v>Alpro</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D$2:$D$9</c:f>
              <c:numCache>
                <c:formatCode>General</c:formatCode>
                <c:ptCount val="8"/>
                <c:pt idx="0">
                  <c:v>20.6</c:v>
                </c:pt>
                <c:pt idx="1">
                  <c:v>0</c:v>
                </c:pt>
                <c:pt idx="2">
                  <c:v>32</c:v>
                </c:pt>
                <c:pt idx="3">
                  <c:v>0</c:v>
                </c:pt>
                <c:pt idx="4">
                  <c:v>6.1</c:v>
                </c:pt>
                <c:pt idx="5">
                  <c:v>0</c:v>
                </c:pt>
                <c:pt idx="6">
                  <c:v>8</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F11-4E30-84D6-D6893D44FAC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F11-4E30-84D6-D6893D44FAC5}"/>
                </c:ext>
              </c:extLst>
            </c:dLbl>
            <c:dLbl>
              <c:idx val="6"/>
              <c:tx>
                <c:rich>
                  <a:bodyPr/>
                  <a:lstStyle/>
                  <a:p>
                    <a:r>
                      <a:t>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F11-4E30-84D6-D6893D44FAC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F11-4E30-84D6-D6893D44FAC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9</c:f>
              <c:multiLvlStrCache>
                <c:ptCount val="8"/>
                <c:lvl>
                  <c:pt idx="0">
                    <c:v>Total</c:v>
                  </c:pt>
                  <c:pt idx="1">
                    <c:v>Alpro</c:v>
                  </c:pt>
                  <c:pt idx="2">
                    <c:v>Total</c:v>
                  </c:pt>
                  <c:pt idx="3">
                    <c:v>Alpro</c:v>
                  </c:pt>
                  <c:pt idx="4">
                    <c:v>Total</c:v>
                  </c:pt>
                  <c:pt idx="5">
                    <c:v>Alpro</c:v>
                  </c:pt>
                  <c:pt idx="6">
                    <c:v>Total</c:v>
                  </c:pt>
                  <c:pt idx="7">
                    <c:v>Alpro</c:v>
                  </c:pt>
                </c:lvl>
                <c:lvl>
                  <c:pt idx="0">
                    <c:v>Essential Spoon</c:v>
                  </c:pt>
                  <c:pt idx="2">
                    <c:v>Greek Spoon</c:v>
                  </c:pt>
                  <c:pt idx="4">
                    <c:v>Kids Spoon</c:v>
                  </c:pt>
                  <c:pt idx="6">
                    <c:v>Light Spoon</c:v>
                  </c:pt>
                </c:lvl>
                <c:lvl>
                  <c:pt idx="0">
                    <c:v>Essential</c:v>
                  </c:pt>
                  <c:pt idx="2">
                    <c:v>Griego</c:v>
                  </c:pt>
                  <c:pt idx="4">
                    <c:v>Kids</c:v>
                  </c:pt>
                  <c:pt idx="6">
                    <c:v>Light</c:v>
                  </c:pt>
                </c:lvl>
              </c:multiLvlStrCache>
            </c:multiLvlStrRef>
          </c:cat>
          <c:val>
            <c:numRef>
              <c:f>Sheet1!$E$2:$E$9</c:f>
              <c:numCache>
                <c:formatCode>General</c:formatCode>
                <c:ptCount val="8"/>
                <c:pt idx="0">
                  <c:v>1.3826000000000001</c:v>
                </c:pt>
                <c:pt idx="1">
                  <c:v>0</c:v>
                </c:pt>
                <c:pt idx="2">
                  <c:v>2.2387999999999999</c:v>
                </c:pt>
                <c:pt idx="3">
                  <c:v>0</c:v>
                </c:pt>
                <c:pt idx="4">
                  <c:v>2.74</c:v>
                </c:pt>
                <c:pt idx="5">
                  <c:v>0</c:v>
                </c:pt>
                <c:pt idx="6">
                  <c:v>1.5611999999999999</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3CC9-494B-85FD-F27518D5E2C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ctimel</c:v>
                  </c:pt>
                  <c:pt idx="2">
                    <c:v>Total</c:v>
                  </c:pt>
                  <c:pt idx="3">
                    <c:v>Actimel</c:v>
                  </c:pt>
                  <c:pt idx="4">
                    <c:v>Total</c:v>
                  </c:pt>
                  <c:pt idx="5">
                    <c:v>Actimel</c:v>
                  </c:pt>
                  <c:pt idx="6">
                    <c:v>Total</c:v>
                  </c:pt>
                  <c:pt idx="7">
                    <c:v>Actimel</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11.5</c:v>
                </c:pt>
                <c:pt idx="2">
                  <c:v>67.5</c:v>
                </c:pt>
                <c:pt idx="3">
                  <c:v>0</c:v>
                </c:pt>
                <c:pt idx="4">
                  <c:v>22</c:v>
                </c:pt>
                <c:pt idx="5">
                  <c:v>0</c:v>
                </c:pt>
                <c:pt idx="6">
                  <c:v>13.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3CC9-494B-85FD-F27518D5E2CF}"/>
                </c:ext>
              </c:extLst>
            </c:dLbl>
            <c:dLbl>
              <c:idx val="1"/>
              <c:tx>
                <c:rich>
                  <a:bodyPr/>
                  <a:lstStyle/>
                  <a:p>
                    <a:r>
                      <a:t>2.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3CC9-494B-85FD-F27518D5E2CF}"/>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CC9-494B-85FD-F27518D5E2C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CC9-494B-85FD-F27518D5E2CF}"/>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CC9-494B-85FD-F27518D5E2C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CC9-494B-85FD-F27518D5E2CF}"/>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CC9-494B-85FD-F27518D5E2C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CC9-494B-85FD-F27518D5E2C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ctimel</c:v>
                  </c:pt>
                  <c:pt idx="2">
                    <c:v>Total</c:v>
                  </c:pt>
                  <c:pt idx="3">
                    <c:v>Actimel</c:v>
                  </c:pt>
                  <c:pt idx="4">
                    <c:v>Total</c:v>
                  </c:pt>
                  <c:pt idx="5">
                    <c:v>Actimel</c:v>
                  </c:pt>
                  <c:pt idx="6">
                    <c:v>Total</c:v>
                  </c:pt>
                  <c:pt idx="7">
                    <c:v>Actimel</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2.56</c:v>
                </c:pt>
                <c:pt idx="2">
                  <c:v>1.8391999999999999</c:v>
                </c:pt>
                <c:pt idx="3">
                  <c:v>0</c:v>
                </c:pt>
                <c:pt idx="4">
                  <c:v>3.9070999999999998</c:v>
                </c:pt>
                <c:pt idx="5">
                  <c:v>0</c:v>
                </c:pt>
                <c:pt idx="6">
                  <c:v>2.9733000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6681-4D66-A67B-51FAF709D9B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ctivia</c:v>
                  </c:pt>
                  <c:pt idx="2">
                    <c:v>Total</c:v>
                  </c:pt>
                  <c:pt idx="3">
                    <c:v>Activia</c:v>
                  </c:pt>
                  <c:pt idx="4">
                    <c:v>Total</c:v>
                  </c:pt>
                  <c:pt idx="5">
                    <c:v>Activia</c:v>
                  </c:pt>
                  <c:pt idx="6">
                    <c:v>Total</c:v>
                  </c:pt>
                  <c:pt idx="7">
                    <c:v>Activia</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14.2</c:v>
                </c:pt>
                <c:pt idx="2">
                  <c:v>67.5</c:v>
                </c:pt>
                <c:pt idx="3">
                  <c:v>0</c:v>
                </c:pt>
                <c:pt idx="4">
                  <c:v>22</c:v>
                </c:pt>
                <c:pt idx="5">
                  <c:v>0</c:v>
                </c:pt>
                <c:pt idx="6">
                  <c:v>13.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681-4D66-A67B-51FAF709D9B1}"/>
                </c:ext>
              </c:extLst>
            </c:dLbl>
            <c:dLbl>
              <c:idx val="1"/>
              <c:tx>
                <c:rich>
                  <a:bodyPr/>
                  <a:lstStyle/>
                  <a:p>
                    <a:r>
                      <a:t>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681-4D66-A67B-51FAF709D9B1}"/>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681-4D66-A67B-51FAF709D9B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681-4D66-A67B-51FAF709D9B1}"/>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681-4D66-A67B-51FAF709D9B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681-4D66-A67B-51FAF709D9B1}"/>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681-4D66-A67B-51FAF709D9B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681-4D66-A67B-51FAF709D9B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ctivia</c:v>
                  </c:pt>
                  <c:pt idx="2">
                    <c:v>Total</c:v>
                  </c:pt>
                  <c:pt idx="3">
                    <c:v>Activia</c:v>
                  </c:pt>
                  <c:pt idx="4">
                    <c:v>Total</c:v>
                  </c:pt>
                  <c:pt idx="5">
                    <c:v>Activia</c:v>
                  </c:pt>
                  <c:pt idx="6">
                    <c:v>Total</c:v>
                  </c:pt>
                  <c:pt idx="7">
                    <c:v>Activia</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2.1539000000000001</c:v>
                </c:pt>
                <c:pt idx="2">
                  <c:v>1.8391999999999999</c:v>
                </c:pt>
                <c:pt idx="3">
                  <c:v>0</c:v>
                </c:pt>
                <c:pt idx="4">
                  <c:v>3.9070999999999998</c:v>
                </c:pt>
                <c:pt idx="5">
                  <c:v>0</c:v>
                </c:pt>
                <c:pt idx="6">
                  <c:v>2.9733000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778174C-B517-46EB-80CA-F385628F3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8EF-49EC-8B4D-EC25A4464CE3}"/>
                </c:ext>
              </c:extLst>
            </c:dLbl>
            <c:dLbl>
              <c:idx val="2"/>
              <c:tx>
                <c:rich>
                  <a:bodyPr/>
                  <a:lstStyle/>
                  <a:p>
                    <a:fld id="{F81E2A16-9C45-454C-9F09-4CF9C467E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48EF-49EC-8B4D-EC25A4464CE3}"/>
                </c:ext>
              </c:extLst>
            </c:dLbl>
            <c:dLbl>
              <c:idx val="3"/>
              <c:tx>
                <c:rich>
                  <a:bodyPr/>
                  <a:lstStyle/>
                  <a:p>
                    <a:fld id="{F2C68FE8-B3D3-473E-91C1-4080C6B39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09D26644-D8A4-4B29-92C3-DE498CC0E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CB3AEE4-55AD-4748-ADAE-0D8EE70AF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0D19795-6045-41DC-8A43-1CC9BDAF9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38062E79-4F09-4E19-B096-85234C029E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D6FEEA86-4764-44F5-9B4D-001BF069F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63000000000001</c:v>
                </c:pt>
              </c:numCache>
            </c:numRef>
          </c:xVal>
          <c:yVal>
            <c:numRef>
              <c:f>Sheet1!$B$2:$B$2</c:f>
              <c:numCache>
                <c:formatCode>General</c:formatCode>
                <c:ptCount val="1"/>
                <c:pt idx="0">
                  <c:v>1</c:v>
                </c:pt>
              </c:numCache>
            </c:numRef>
          </c:yVal>
          <c:bubbleSize>
            <c:numRef>
              <c:f>Sheet1!$C$2:$C$2</c:f>
              <c:numCache>
                <c:formatCode>General</c:formatCode>
                <c:ptCount val="1"/>
                <c:pt idx="0">
                  <c:v>2195831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82A8-459E-911F-109EE1744CF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acol</c:v>
                  </c:pt>
                  <c:pt idx="2">
                    <c:v>Total</c:v>
                  </c:pt>
                  <c:pt idx="3">
                    <c:v>Danacol</c:v>
                  </c:pt>
                  <c:pt idx="4">
                    <c:v>Total</c:v>
                  </c:pt>
                  <c:pt idx="5">
                    <c:v>Danacol</c:v>
                  </c:pt>
                  <c:pt idx="6">
                    <c:v>Total</c:v>
                  </c:pt>
                  <c:pt idx="7">
                    <c:v>Danacol</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14.3</c:v>
                </c:pt>
                <c:pt idx="2">
                  <c:v>67.5</c:v>
                </c:pt>
                <c:pt idx="3">
                  <c:v>0</c:v>
                </c:pt>
                <c:pt idx="4">
                  <c:v>22</c:v>
                </c:pt>
                <c:pt idx="5">
                  <c:v>0</c:v>
                </c:pt>
                <c:pt idx="6">
                  <c:v>13.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2A8-459E-911F-109EE1744CF0}"/>
                </c:ext>
              </c:extLst>
            </c:dLbl>
            <c:dLbl>
              <c:idx val="1"/>
              <c:tx>
                <c:rich>
                  <a:bodyPr/>
                  <a:lstStyle/>
                  <a:p>
                    <a:r>
                      <a:t>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2A8-459E-911F-109EE1744CF0}"/>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2A8-459E-911F-109EE1744CF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2A8-459E-911F-109EE1744CF0}"/>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2A8-459E-911F-109EE1744CF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2A8-459E-911F-109EE1744CF0}"/>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2A8-459E-911F-109EE1744CF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2A8-459E-911F-109EE1744CF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acol</c:v>
                  </c:pt>
                  <c:pt idx="2">
                    <c:v>Total</c:v>
                  </c:pt>
                  <c:pt idx="3">
                    <c:v>Danacol</c:v>
                  </c:pt>
                  <c:pt idx="4">
                    <c:v>Total</c:v>
                  </c:pt>
                  <c:pt idx="5">
                    <c:v>Danacol</c:v>
                  </c:pt>
                  <c:pt idx="6">
                    <c:v>Total</c:v>
                  </c:pt>
                  <c:pt idx="7">
                    <c:v>Danacol</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3.282</c:v>
                </c:pt>
                <c:pt idx="2">
                  <c:v>1.8391999999999999</c:v>
                </c:pt>
                <c:pt idx="3">
                  <c:v>0</c:v>
                </c:pt>
                <c:pt idx="4">
                  <c:v>3.9070999999999998</c:v>
                </c:pt>
                <c:pt idx="5">
                  <c:v>0</c:v>
                </c:pt>
                <c:pt idx="6">
                  <c:v>2.9733000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4D89-4AB4-A43C-B0CE27E2997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one</c:v>
                  </c:pt>
                  <c:pt idx="2">
                    <c:v>Total</c:v>
                  </c:pt>
                  <c:pt idx="3">
                    <c:v>Danone</c:v>
                  </c:pt>
                  <c:pt idx="4">
                    <c:v>Total</c:v>
                  </c:pt>
                  <c:pt idx="5">
                    <c:v>Danone</c:v>
                  </c:pt>
                  <c:pt idx="6">
                    <c:v>Total</c:v>
                  </c:pt>
                  <c:pt idx="7">
                    <c:v>Danone</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0</c:v>
                </c:pt>
                <c:pt idx="2">
                  <c:v>67.5</c:v>
                </c:pt>
                <c:pt idx="3">
                  <c:v>12.7</c:v>
                </c:pt>
                <c:pt idx="4">
                  <c:v>22</c:v>
                </c:pt>
                <c:pt idx="5">
                  <c:v>0</c:v>
                </c:pt>
                <c:pt idx="6">
                  <c:v>13.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D89-4AB4-A43C-B0CE27E2997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D89-4AB4-A43C-B0CE27E29978}"/>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D89-4AB4-A43C-B0CE27E29978}"/>
                </c:ext>
              </c:extLst>
            </c:dLbl>
            <c:dLbl>
              <c:idx val="3"/>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D89-4AB4-A43C-B0CE27E29978}"/>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D89-4AB4-A43C-B0CE27E2997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D89-4AB4-A43C-B0CE27E29978}"/>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D89-4AB4-A43C-B0CE27E2997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D89-4AB4-A43C-B0CE27E2997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one</c:v>
                  </c:pt>
                  <c:pt idx="2">
                    <c:v>Total</c:v>
                  </c:pt>
                  <c:pt idx="3">
                    <c:v>Danone</c:v>
                  </c:pt>
                  <c:pt idx="4">
                    <c:v>Total</c:v>
                  </c:pt>
                  <c:pt idx="5">
                    <c:v>Danone</c:v>
                  </c:pt>
                  <c:pt idx="6">
                    <c:v>Total</c:v>
                  </c:pt>
                  <c:pt idx="7">
                    <c:v>Danone</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0</c:v>
                </c:pt>
                <c:pt idx="2">
                  <c:v>1.8391999999999999</c:v>
                </c:pt>
                <c:pt idx="3">
                  <c:v>1.2534000000000001</c:v>
                </c:pt>
                <c:pt idx="4">
                  <c:v>3.9070999999999998</c:v>
                </c:pt>
                <c:pt idx="5">
                  <c:v>0</c:v>
                </c:pt>
                <c:pt idx="6">
                  <c:v>2.9733000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8D88-498B-892E-EF898247360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onino</c:v>
                  </c:pt>
                  <c:pt idx="2">
                    <c:v>Total</c:v>
                  </c:pt>
                  <c:pt idx="3">
                    <c:v>Danonino</c:v>
                  </c:pt>
                  <c:pt idx="4">
                    <c:v>Total</c:v>
                  </c:pt>
                  <c:pt idx="5">
                    <c:v>Danonino</c:v>
                  </c:pt>
                  <c:pt idx="6">
                    <c:v>Total</c:v>
                  </c:pt>
                  <c:pt idx="7">
                    <c:v>Danonino</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0</c:v>
                </c:pt>
                <c:pt idx="2">
                  <c:v>67.5</c:v>
                </c:pt>
                <c:pt idx="3">
                  <c:v>4.4000000000000004</c:v>
                </c:pt>
                <c:pt idx="4">
                  <c:v>22</c:v>
                </c:pt>
                <c:pt idx="5">
                  <c:v>0</c:v>
                </c:pt>
                <c:pt idx="6">
                  <c:v>13.5</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D88-498B-892E-EF898247360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D88-498B-892E-EF8982473607}"/>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D88-498B-892E-EF8982473607}"/>
                </c:ext>
              </c:extLst>
            </c:dLbl>
            <c:dLbl>
              <c:idx val="3"/>
              <c:tx>
                <c:rich>
                  <a:bodyPr/>
                  <a:lstStyle/>
                  <a:p>
                    <a:r>
                      <a:t>2.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D88-498B-892E-EF8982473607}"/>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D88-498B-892E-EF898247360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D88-498B-892E-EF8982473607}"/>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D88-498B-892E-EF898247360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D88-498B-892E-EF89824736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Danonino</c:v>
                  </c:pt>
                  <c:pt idx="2">
                    <c:v>Total</c:v>
                  </c:pt>
                  <c:pt idx="3">
                    <c:v>Danonino</c:v>
                  </c:pt>
                  <c:pt idx="4">
                    <c:v>Total</c:v>
                  </c:pt>
                  <c:pt idx="5">
                    <c:v>Danonino</c:v>
                  </c:pt>
                  <c:pt idx="6">
                    <c:v>Total</c:v>
                  </c:pt>
                  <c:pt idx="7">
                    <c:v>Danonino</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0</c:v>
                </c:pt>
                <c:pt idx="2">
                  <c:v>1.8391999999999999</c:v>
                </c:pt>
                <c:pt idx="3">
                  <c:v>2.6071</c:v>
                </c:pt>
                <c:pt idx="4">
                  <c:v>3.9070999999999998</c:v>
                </c:pt>
                <c:pt idx="5">
                  <c:v>0</c:v>
                </c:pt>
                <c:pt idx="6">
                  <c:v>2.9733000000000001</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7637-477A-B4B2-6560CAC42B8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lpro</c:v>
                  </c:pt>
                  <c:pt idx="2">
                    <c:v>Total</c:v>
                  </c:pt>
                  <c:pt idx="3">
                    <c:v>Alpro</c:v>
                  </c:pt>
                  <c:pt idx="4">
                    <c:v>Total</c:v>
                  </c:pt>
                  <c:pt idx="5">
                    <c:v>Alpro</c:v>
                  </c:pt>
                  <c:pt idx="6">
                    <c:v>Total</c:v>
                  </c:pt>
                  <c:pt idx="7">
                    <c:v>Alpro</c:v>
                  </c:pt>
                </c:lvl>
                <c:lvl>
                  <c:pt idx="0">
                    <c:v>Functionals</c:v>
                  </c:pt>
                  <c:pt idx="2">
                    <c:v>Every Day Nutrition</c:v>
                  </c:pt>
                  <c:pt idx="4">
                    <c:v>Protein</c:v>
                  </c:pt>
                  <c:pt idx="6">
                    <c:v>Plant Based</c:v>
                  </c:pt>
                </c:lvl>
              </c:multiLvlStrCache>
            </c:multiLvlStrRef>
          </c:cat>
          <c:val>
            <c:numRef>
              <c:f>Sheet1!$C$2:$C$9</c:f>
              <c:numCache>
                <c:formatCode>General</c:formatCode>
                <c:ptCount val="8"/>
                <c:pt idx="0">
                  <c:v>70.8</c:v>
                </c:pt>
                <c:pt idx="1">
                  <c:v>0</c:v>
                </c:pt>
                <c:pt idx="2">
                  <c:v>67.5</c:v>
                </c:pt>
                <c:pt idx="3">
                  <c:v>0</c:v>
                </c:pt>
                <c:pt idx="4">
                  <c:v>22</c:v>
                </c:pt>
                <c:pt idx="5">
                  <c:v>0</c:v>
                </c:pt>
                <c:pt idx="6">
                  <c:v>13.5</c:v>
                </c:pt>
                <c:pt idx="7">
                  <c:v>1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637-477A-B4B2-6560CAC42B8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637-477A-B4B2-6560CAC42B89}"/>
                </c:ext>
              </c:extLst>
            </c:dLbl>
            <c:dLbl>
              <c:idx val="2"/>
              <c:tx>
                <c:rich>
                  <a:bodyPr/>
                  <a:lstStyle/>
                  <a:p>
                    <a:r>
                      <a:t>1.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637-477A-B4B2-6560CAC42B8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637-477A-B4B2-6560CAC42B89}"/>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637-477A-B4B2-6560CAC42B8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637-477A-B4B2-6560CAC42B89}"/>
                </c:ext>
              </c:extLst>
            </c:dLbl>
            <c:dLbl>
              <c:idx val="6"/>
              <c:tx>
                <c:rich>
                  <a:bodyPr/>
                  <a:lstStyle/>
                  <a:p>
                    <a:r>
                      <a:t>2.9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637-477A-B4B2-6560CAC42B89}"/>
                </c:ext>
              </c:extLst>
            </c:dLbl>
            <c:dLbl>
              <c:idx val="7"/>
              <c:tx>
                <c:rich>
                  <a:bodyPr/>
                  <a:lstStyle/>
                  <a:p>
                    <a:r>
                      <a:t>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637-477A-B4B2-6560CAC42B8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Alpro</c:v>
                  </c:pt>
                  <c:pt idx="2">
                    <c:v>Total</c:v>
                  </c:pt>
                  <c:pt idx="3">
                    <c:v>Alpro</c:v>
                  </c:pt>
                  <c:pt idx="4">
                    <c:v>Total</c:v>
                  </c:pt>
                  <c:pt idx="5">
                    <c:v>Alpro</c:v>
                  </c:pt>
                  <c:pt idx="6">
                    <c:v>Total</c:v>
                  </c:pt>
                  <c:pt idx="7">
                    <c:v>Alpro</c:v>
                  </c:pt>
                </c:lvl>
                <c:lvl>
                  <c:pt idx="0">
                    <c:v>Functionals</c:v>
                  </c:pt>
                  <c:pt idx="2">
                    <c:v>Every Day Nutrition</c:v>
                  </c:pt>
                  <c:pt idx="4">
                    <c:v>Protein</c:v>
                  </c:pt>
                  <c:pt idx="6">
                    <c:v>Plant Based</c:v>
                  </c:pt>
                </c:lvl>
              </c:multiLvlStrCache>
            </c:multiLvlStrRef>
          </c:cat>
          <c:val>
            <c:numRef>
              <c:f>Sheet1!$D$2:$D$9</c:f>
              <c:numCache>
                <c:formatCode>General</c:formatCode>
                <c:ptCount val="8"/>
                <c:pt idx="0">
                  <c:v>2.4390999999999998</c:v>
                </c:pt>
                <c:pt idx="1">
                  <c:v>0</c:v>
                </c:pt>
                <c:pt idx="2">
                  <c:v>1.8391999999999999</c:v>
                </c:pt>
                <c:pt idx="3">
                  <c:v>0</c:v>
                </c:pt>
                <c:pt idx="4">
                  <c:v>3.9070999999999998</c:v>
                </c:pt>
                <c:pt idx="5">
                  <c:v>0</c:v>
                </c:pt>
                <c:pt idx="6">
                  <c:v>2.9733000000000001</c:v>
                </c:pt>
                <c:pt idx="7">
                  <c:v>2.9392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1041-49F3-9020-7389D5A9697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1041-49F3-9020-7389D5A9697B}"/>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mel</c:v>
                  </c:pt>
                  <c:pt idx="2">
                    <c:v>Total</c:v>
                  </c:pt>
                  <c:pt idx="3">
                    <c:v>Actimel</c:v>
                  </c:pt>
                  <c:pt idx="4">
                    <c:v>Total</c:v>
                  </c:pt>
                  <c:pt idx="5">
                    <c:v>Actimel</c:v>
                  </c:pt>
                  <c:pt idx="6">
                    <c:v>Total</c:v>
                  </c:pt>
                  <c:pt idx="7">
                    <c:v>Actimel</c:v>
                  </c:pt>
                  <c:pt idx="8">
                    <c:v>Total</c:v>
                  </c:pt>
                  <c:pt idx="9">
                    <c:v>Actimel</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0</c:v>
                </c:pt>
                <c:pt idx="4">
                  <c:v>22</c:v>
                </c:pt>
                <c:pt idx="5">
                  <c:v>0</c:v>
                </c:pt>
                <c:pt idx="6">
                  <c:v>20.6</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041-49F3-9020-7389D5A9697B}"/>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041-49F3-9020-7389D5A9697B}"/>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041-49F3-9020-7389D5A9697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041-49F3-9020-7389D5A9697B}"/>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041-49F3-9020-7389D5A9697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041-49F3-9020-7389D5A9697B}"/>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041-49F3-9020-7389D5A9697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041-49F3-9020-7389D5A9697B}"/>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041-49F3-9020-7389D5A9697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041-49F3-9020-7389D5A9697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mel</c:v>
                  </c:pt>
                  <c:pt idx="2">
                    <c:v>Total</c:v>
                  </c:pt>
                  <c:pt idx="3">
                    <c:v>Actimel</c:v>
                  </c:pt>
                  <c:pt idx="4">
                    <c:v>Total</c:v>
                  </c:pt>
                  <c:pt idx="5">
                    <c:v>Actimel</c:v>
                  </c:pt>
                  <c:pt idx="6">
                    <c:v>Total</c:v>
                  </c:pt>
                  <c:pt idx="7">
                    <c:v>Actimel</c:v>
                  </c:pt>
                  <c:pt idx="8">
                    <c:v>Total</c:v>
                  </c:pt>
                  <c:pt idx="9">
                    <c:v>Actimel</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0</c:v>
                </c:pt>
                <c:pt idx="4">
                  <c:v>3.9070999999999998</c:v>
                </c:pt>
                <c:pt idx="5">
                  <c:v>0</c:v>
                </c:pt>
                <c:pt idx="6">
                  <c:v>1.3826000000000001</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126E-4DF3-9630-32CECF3D5D0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126E-4DF3-9630-32CECF3D5D01}"/>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via</c:v>
                  </c:pt>
                  <c:pt idx="2">
                    <c:v>Total</c:v>
                  </c:pt>
                  <c:pt idx="3">
                    <c:v>Activia</c:v>
                  </c:pt>
                  <c:pt idx="4">
                    <c:v>Total</c:v>
                  </c:pt>
                  <c:pt idx="5">
                    <c:v>Activia</c:v>
                  </c:pt>
                  <c:pt idx="6">
                    <c:v>Total</c:v>
                  </c:pt>
                  <c:pt idx="7">
                    <c:v>Activia</c:v>
                  </c:pt>
                  <c:pt idx="8">
                    <c:v>Total</c:v>
                  </c:pt>
                  <c:pt idx="9">
                    <c:v>Activia</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14.2</c:v>
                </c:pt>
                <c:pt idx="4">
                  <c:v>22</c:v>
                </c:pt>
                <c:pt idx="5">
                  <c:v>0</c:v>
                </c:pt>
                <c:pt idx="6">
                  <c:v>20.6</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26E-4DF3-9630-32CECF3D5D01}"/>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26E-4DF3-9630-32CECF3D5D01}"/>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26E-4DF3-9630-32CECF3D5D01}"/>
                </c:ext>
              </c:extLst>
            </c:dLbl>
            <c:dLbl>
              <c:idx val="3"/>
              <c:tx>
                <c:rich>
                  <a:bodyPr/>
                  <a:lstStyle/>
                  <a:p>
                    <a:r>
                      <a:t>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26E-4DF3-9630-32CECF3D5D01}"/>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26E-4DF3-9630-32CECF3D5D0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26E-4DF3-9630-32CECF3D5D01}"/>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26E-4DF3-9630-32CECF3D5D0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26E-4DF3-9630-32CECF3D5D01}"/>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26E-4DF3-9630-32CECF3D5D01}"/>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26E-4DF3-9630-32CECF3D5D0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via</c:v>
                  </c:pt>
                  <c:pt idx="2">
                    <c:v>Total</c:v>
                  </c:pt>
                  <c:pt idx="3">
                    <c:v>Activia</c:v>
                  </c:pt>
                  <c:pt idx="4">
                    <c:v>Total</c:v>
                  </c:pt>
                  <c:pt idx="5">
                    <c:v>Activia</c:v>
                  </c:pt>
                  <c:pt idx="6">
                    <c:v>Total</c:v>
                  </c:pt>
                  <c:pt idx="7">
                    <c:v>Activia</c:v>
                  </c:pt>
                  <c:pt idx="8">
                    <c:v>Total</c:v>
                  </c:pt>
                  <c:pt idx="9">
                    <c:v>Activia</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2.1539000000000001</c:v>
                </c:pt>
                <c:pt idx="4">
                  <c:v>3.9070999999999998</c:v>
                </c:pt>
                <c:pt idx="5">
                  <c:v>0</c:v>
                </c:pt>
                <c:pt idx="6">
                  <c:v>1.3826000000000001</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C2D1-444A-BB6D-A9BD2779396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C2D1-444A-BB6D-A9BD27793969}"/>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acol</c:v>
                  </c:pt>
                  <c:pt idx="2">
                    <c:v>Total</c:v>
                  </c:pt>
                  <c:pt idx="3">
                    <c:v>Danacol</c:v>
                  </c:pt>
                  <c:pt idx="4">
                    <c:v>Total</c:v>
                  </c:pt>
                  <c:pt idx="5">
                    <c:v>Danacol</c:v>
                  </c:pt>
                  <c:pt idx="6">
                    <c:v>Total</c:v>
                  </c:pt>
                  <c:pt idx="7">
                    <c:v>Danacol</c:v>
                  </c:pt>
                  <c:pt idx="8">
                    <c:v>Total</c:v>
                  </c:pt>
                  <c:pt idx="9">
                    <c:v>Danacol</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0</c:v>
                </c:pt>
                <c:pt idx="4">
                  <c:v>22</c:v>
                </c:pt>
                <c:pt idx="5">
                  <c:v>0</c:v>
                </c:pt>
                <c:pt idx="6">
                  <c:v>20.6</c:v>
                </c:pt>
                <c:pt idx="7">
                  <c:v>0</c:v>
                </c:pt>
                <c:pt idx="8">
                  <c:v>16.3</c:v>
                </c:pt>
                <c:pt idx="9">
                  <c:v>1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2D1-444A-BB6D-A9BD2779396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2D1-444A-BB6D-A9BD27793969}"/>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2D1-444A-BB6D-A9BD2779396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2D1-444A-BB6D-A9BD27793969}"/>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2D1-444A-BB6D-A9BD2779396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2D1-444A-BB6D-A9BD27793969}"/>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2D1-444A-BB6D-A9BD2779396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2D1-444A-BB6D-A9BD27793969}"/>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2D1-444A-BB6D-A9BD27793969}"/>
                </c:ext>
              </c:extLst>
            </c:dLbl>
            <c:dLbl>
              <c:idx val="9"/>
              <c:tx>
                <c:rich>
                  <a:bodyPr/>
                  <a:lstStyle/>
                  <a:p>
                    <a:r>
                      <a:t>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2D1-444A-BB6D-A9BD277939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acol</c:v>
                  </c:pt>
                  <c:pt idx="2">
                    <c:v>Total</c:v>
                  </c:pt>
                  <c:pt idx="3">
                    <c:v>Danacol</c:v>
                  </c:pt>
                  <c:pt idx="4">
                    <c:v>Total</c:v>
                  </c:pt>
                  <c:pt idx="5">
                    <c:v>Danacol</c:v>
                  </c:pt>
                  <c:pt idx="6">
                    <c:v>Total</c:v>
                  </c:pt>
                  <c:pt idx="7">
                    <c:v>Danacol</c:v>
                  </c:pt>
                  <c:pt idx="8">
                    <c:v>Total</c:v>
                  </c:pt>
                  <c:pt idx="9">
                    <c:v>Danacol</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0</c:v>
                </c:pt>
                <c:pt idx="4">
                  <c:v>3.9070999999999998</c:v>
                </c:pt>
                <c:pt idx="5">
                  <c:v>0</c:v>
                </c:pt>
                <c:pt idx="6">
                  <c:v>1.3826000000000001</c:v>
                </c:pt>
                <c:pt idx="7">
                  <c:v>0</c:v>
                </c:pt>
                <c:pt idx="8">
                  <c:v>3.2549000000000001</c:v>
                </c:pt>
                <c:pt idx="9">
                  <c:v>3.2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8E70-4B21-8973-67986FEC95B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8E70-4B21-8973-67986FEC95B4}"/>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e</c:v>
                  </c:pt>
                  <c:pt idx="2">
                    <c:v>Total</c:v>
                  </c:pt>
                  <c:pt idx="3">
                    <c:v>Danone</c:v>
                  </c:pt>
                  <c:pt idx="4">
                    <c:v>Total</c:v>
                  </c:pt>
                  <c:pt idx="5">
                    <c:v>Danone</c:v>
                  </c:pt>
                  <c:pt idx="6">
                    <c:v>Total</c:v>
                  </c:pt>
                  <c:pt idx="7">
                    <c:v>Danone</c:v>
                  </c:pt>
                  <c:pt idx="8">
                    <c:v>Total</c:v>
                  </c:pt>
                  <c:pt idx="9">
                    <c:v>Danone</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0</c:v>
                </c:pt>
                <c:pt idx="4">
                  <c:v>22</c:v>
                </c:pt>
                <c:pt idx="5">
                  <c:v>0</c:v>
                </c:pt>
                <c:pt idx="6">
                  <c:v>20.6</c:v>
                </c:pt>
                <c:pt idx="7">
                  <c:v>12.7</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E70-4B21-8973-67986FEC95B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E70-4B21-8973-67986FEC95B4}"/>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E70-4B21-8973-67986FEC95B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E70-4B21-8973-67986FEC95B4}"/>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E70-4B21-8973-67986FEC95B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E70-4B21-8973-67986FEC95B4}"/>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E70-4B21-8973-67986FEC95B4}"/>
                </c:ext>
              </c:extLst>
            </c:dLbl>
            <c:dLbl>
              <c:idx val="7"/>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E70-4B21-8973-67986FEC95B4}"/>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E70-4B21-8973-67986FEC95B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E70-4B21-8973-67986FEC95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e</c:v>
                  </c:pt>
                  <c:pt idx="2">
                    <c:v>Total</c:v>
                  </c:pt>
                  <c:pt idx="3">
                    <c:v>Danone</c:v>
                  </c:pt>
                  <c:pt idx="4">
                    <c:v>Total</c:v>
                  </c:pt>
                  <c:pt idx="5">
                    <c:v>Danone</c:v>
                  </c:pt>
                  <c:pt idx="6">
                    <c:v>Total</c:v>
                  </c:pt>
                  <c:pt idx="7">
                    <c:v>Danone</c:v>
                  </c:pt>
                  <c:pt idx="8">
                    <c:v>Total</c:v>
                  </c:pt>
                  <c:pt idx="9">
                    <c:v>Danone</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0</c:v>
                </c:pt>
                <c:pt idx="4">
                  <c:v>3.9070999999999998</c:v>
                </c:pt>
                <c:pt idx="5">
                  <c:v>0</c:v>
                </c:pt>
                <c:pt idx="6">
                  <c:v>1.3826000000000001</c:v>
                </c:pt>
                <c:pt idx="7">
                  <c:v>1.2534000000000001</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CF11-4CE8-8BDB-AB22464B730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CF11-4CE8-8BDB-AB22464B730A}"/>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ino</c:v>
                  </c:pt>
                  <c:pt idx="2">
                    <c:v>Total</c:v>
                  </c:pt>
                  <c:pt idx="3">
                    <c:v>Danonino</c:v>
                  </c:pt>
                  <c:pt idx="4">
                    <c:v>Total</c:v>
                  </c:pt>
                  <c:pt idx="5">
                    <c:v>Danonino</c:v>
                  </c:pt>
                  <c:pt idx="6">
                    <c:v>Total</c:v>
                  </c:pt>
                  <c:pt idx="7">
                    <c:v>Danonino</c:v>
                  </c:pt>
                  <c:pt idx="8">
                    <c:v>Total</c:v>
                  </c:pt>
                  <c:pt idx="9">
                    <c:v>Danonino</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0</c:v>
                </c:pt>
                <c:pt idx="4">
                  <c:v>22</c:v>
                </c:pt>
                <c:pt idx="5">
                  <c:v>0</c:v>
                </c:pt>
                <c:pt idx="6">
                  <c:v>20.6</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F11-4CE8-8BDB-AB22464B730A}"/>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F11-4CE8-8BDB-AB22464B730A}"/>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F11-4CE8-8BDB-AB22464B730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F11-4CE8-8BDB-AB22464B730A}"/>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F11-4CE8-8BDB-AB22464B730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F11-4CE8-8BDB-AB22464B730A}"/>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F11-4CE8-8BDB-AB22464B730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F11-4CE8-8BDB-AB22464B730A}"/>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F11-4CE8-8BDB-AB22464B730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F11-4CE8-8BDB-AB22464B730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ino</c:v>
                  </c:pt>
                  <c:pt idx="2">
                    <c:v>Total</c:v>
                  </c:pt>
                  <c:pt idx="3">
                    <c:v>Danonino</c:v>
                  </c:pt>
                  <c:pt idx="4">
                    <c:v>Total</c:v>
                  </c:pt>
                  <c:pt idx="5">
                    <c:v>Danonino</c:v>
                  </c:pt>
                  <c:pt idx="6">
                    <c:v>Total</c:v>
                  </c:pt>
                  <c:pt idx="7">
                    <c:v>Danonino</c:v>
                  </c:pt>
                  <c:pt idx="8">
                    <c:v>Total</c:v>
                  </c:pt>
                  <c:pt idx="9">
                    <c:v>Danonino</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0</c:v>
                </c:pt>
                <c:pt idx="4">
                  <c:v>3.9070999999999998</c:v>
                </c:pt>
                <c:pt idx="5">
                  <c:v>0</c:v>
                </c:pt>
                <c:pt idx="6">
                  <c:v>1.3826000000000001</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081A-463B-B1D0-FC333FC9D44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081A-463B-B1D0-FC333FC9D44E}"/>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lpro</c:v>
                  </c:pt>
                  <c:pt idx="2">
                    <c:v>Total</c:v>
                  </c:pt>
                  <c:pt idx="3">
                    <c:v>Alpro</c:v>
                  </c:pt>
                  <c:pt idx="4">
                    <c:v>Total</c:v>
                  </c:pt>
                  <c:pt idx="5">
                    <c:v>Alpro</c:v>
                  </c:pt>
                  <c:pt idx="6">
                    <c:v>Total</c:v>
                  </c:pt>
                  <c:pt idx="7">
                    <c:v>Alpro</c:v>
                  </c:pt>
                  <c:pt idx="8">
                    <c:v>Total</c:v>
                  </c:pt>
                  <c:pt idx="9">
                    <c:v>Alpro</c:v>
                  </c:pt>
                </c:lvl>
                <c:lvl>
                  <c:pt idx="0">
                    <c:v>Griego</c:v>
                  </c:pt>
                  <c:pt idx="2">
                    <c:v>Bifidus</c:v>
                  </c:pt>
                  <c:pt idx="4">
                    <c:v>Protein</c:v>
                  </c:pt>
                  <c:pt idx="6">
                    <c:v>Essential</c:v>
                  </c:pt>
                  <c:pt idx="8">
                    <c:v>Cholesterol</c:v>
                  </c:pt>
                </c:lvl>
              </c:multiLvlStrCache>
            </c:multiLvlStrRef>
          </c:cat>
          <c:val>
            <c:numRef>
              <c:f>Sheet1!$C$2:$C$11</c:f>
              <c:numCache>
                <c:formatCode>General</c:formatCode>
                <c:ptCount val="10"/>
                <c:pt idx="0">
                  <c:v>32</c:v>
                </c:pt>
                <c:pt idx="1">
                  <c:v>0</c:v>
                </c:pt>
                <c:pt idx="2">
                  <c:v>29.1</c:v>
                </c:pt>
                <c:pt idx="3">
                  <c:v>0</c:v>
                </c:pt>
                <c:pt idx="4">
                  <c:v>22</c:v>
                </c:pt>
                <c:pt idx="5">
                  <c:v>0</c:v>
                </c:pt>
                <c:pt idx="6">
                  <c:v>20.6</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81A-463B-B1D0-FC333FC9D44E}"/>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81A-463B-B1D0-FC333FC9D44E}"/>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81A-463B-B1D0-FC333FC9D44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81A-463B-B1D0-FC333FC9D44E}"/>
                </c:ext>
              </c:extLst>
            </c:dLbl>
            <c:dLbl>
              <c:idx val="4"/>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81A-463B-B1D0-FC333FC9D44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81A-463B-B1D0-FC333FC9D44E}"/>
                </c:ext>
              </c:extLst>
            </c:dLbl>
            <c:dLbl>
              <c:idx val="6"/>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81A-463B-B1D0-FC333FC9D44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81A-463B-B1D0-FC333FC9D44E}"/>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81A-463B-B1D0-FC333FC9D44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81A-463B-B1D0-FC333FC9D44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lpro</c:v>
                  </c:pt>
                  <c:pt idx="2">
                    <c:v>Total</c:v>
                  </c:pt>
                  <c:pt idx="3">
                    <c:v>Alpro</c:v>
                  </c:pt>
                  <c:pt idx="4">
                    <c:v>Total</c:v>
                  </c:pt>
                  <c:pt idx="5">
                    <c:v>Alpro</c:v>
                  </c:pt>
                  <c:pt idx="6">
                    <c:v>Total</c:v>
                  </c:pt>
                  <c:pt idx="7">
                    <c:v>Alpro</c:v>
                  </c:pt>
                  <c:pt idx="8">
                    <c:v>Total</c:v>
                  </c:pt>
                  <c:pt idx="9">
                    <c:v>Alpro</c:v>
                  </c:pt>
                </c:lvl>
                <c:lvl>
                  <c:pt idx="0">
                    <c:v>Griego</c:v>
                  </c:pt>
                  <c:pt idx="2">
                    <c:v>Bifidus</c:v>
                  </c:pt>
                  <c:pt idx="4">
                    <c:v>Protein</c:v>
                  </c:pt>
                  <c:pt idx="6">
                    <c:v>Essential</c:v>
                  </c:pt>
                  <c:pt idx="8">
                    <c:v>Cholesterol</c:v>
                  </c:pt>
                </c:lvl>
              </c:multiLvlStrCache>
            </c:multiLvlStrRef>
          </c:cat>
          <c:val>
            <c:numRef>
              <c:f>Sheet1!$D$2:$D$11</c:f>
              <c:numCache>
                <c:formatCode>General</c:formatCode>
                <c:ptCount val="10"/>
                <c:pt idx="0">
                  <c:v>2.2387999999999999</c:v>
                </c:pt>
                <c:pt idx="1">
                  <c:v>0</c:v>
                </c:pt>
                <c:pt idx="2">
                  <c:v>2.0173999999999999</c:v>
                </c:pt>
                <c:pt idx="3">
                  <c:v>0</c:v>
                </c:pt>
                <c:pt idx="4">
                  <c:v>3.9070999999999998</c:v>
                </c:pt>
                <c:pt idx="5">
                  <c:v>0</c:v>
                </c:pt>
                <c:pt idx="6">
                  <c:v>1.3826000000000001</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306AF26-75CA-42B1-81CB-085CEFD82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280F8E5-C79D-4FE9-9C6F-5CD708610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20D2E48D-CD3A-4E0E-AC8A-6667035C0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C7CAE3D8-F23A-4222-BB29-4AAD37DFB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930BDBDE-A6C1-4579-8BA7-922B27AD1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74BA2655-ECBB-46A3-BF22-1BF6E7449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FE53B2E-678A-45A0-9E2D-DE77D5F08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6B31B13-EB67-4798-8E3B-156D9E573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161999999999999</c:v>
                </c:pt>
                <c:pt idx="1">
                  <c:v>1.67</c:v>
                </c:pt>
              </c:numCache>
            </c:numRef>
          </c:xVal>
          <c:yVal>
            <c:numRef>
              <c:f>Sheet1!$B$2:$B$3</c:f>
              <c:numCache>
                <c:formatCode>General</c:formatCode>
                <c:ptCount val="2"/>
                <c:pt idx="0">
                  <c:v>0.94299999999999995</c:v>
                </c:pt>
                <c:pt idx="1">
                  <c:v>1.0680000000000001</c:v>
                </c:pt>
              </c:numCache>
            </c:numRef>
          </c:yVal>
          <c:bubbleSize>
            <c:numRef>
              <c:f>Sheet1!$C$2:$C$3</c:f>
              <c:numCache>
                <c:formatCode>General</c:formatCode>
                <c:ptCount val="2"/>
                <c:pt idx="0">
                  <c:v>14863059</c:v>
                </c:pt>
                <c:pt idx="1">
                  <c:v>14192497</c:v>
                </c:pt>
              </c:numCache>
            </c:numRef>
          </c:bubbleSize>
          <c:bubble3D val="0"/>
          <c:extLst>
            <c:ext xmlns:c15="http://schemas.microsoft.com/office/drawing/2012/chart" uri="{02D57815-91ED-43cb-92C2-25804820EDAC}">
              <c15:datalabelsRange>
                <c15:f>Sheet1!$E$2:$E$10</c15:f>
                <c15:dlblRangeCache>
                  <c:ptCount val="9"/>
                  <c:pt idx="0">
                    <c:v>Hacendado</c:v>
                  </c:pt>
                  <c:pt idx="1">
                    <c:v>Activia</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FD90-4265-9BB0-71E293AE1A1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FD90-4265-9BB0-71E293AE1A14}"/>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mel</c:v>
                  </c:pt>
                  <c:pt idx="2">
                    <c:v>Total</c:v>
                  </c:pt>
                  <c:pt idx="3">
                    <c:v>Actimel</c:v>
                  </c:pt>
                  <c:pt idx="4">
                    <c:v>Total</c:v>
                  </c:pt>
                  <c:pt idx="5">
                    <c:v>Actimel</c:v>
                  </c:pt>
                  <c:pt idx="6">
                    <c:v>Total</c:v>
                  </c:pt>
                  <c:pt idx="7">
                    <c:v>Actimel</c:v>
                  </c:pt>
                  <c:pt idx="8">
                    <c:v>Total</c:v>
                  </c:pt>
                  <c:pt idx="9">
                    <c:v>Actimel</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0</c:v>
                </c:pt>
                <c:pt idx="4">
                  <c:v>20.6</c:v>
                </c:pt>
                <c:pt idx="5">
                  <c:v>0</c:v>
                </c:pt>
                <c:pt idx="6">
                  <c:v>16.5</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D90-4265-9BB0-71E293AE1A1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D90-4265-9BB0-71E293AE1A14}"/>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D90-4265-9BB0-71E293AE1A1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D90-4265-9BB0-71E293AE1A14}"/>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D90-4265-9BB0-71E293AE1A1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D90-4265-9BB0-71E293AE1A14}"/>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D90-4265-9BB0-71E293AE1A1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D90-4265-9BB0-71E293AE1A14}"/>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D90-4265-9BB0-71E293AE1A1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D90-4265-9BB0-71E293AE1A1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mel</c:v>
                  </c:pt>
                  <c:pt idx="2">
                    <c:v>Total</c:v>
                  </c:pt>
                  <c:pt idx="3">
                    <c:v>Actimel</c:v>
                  </c:pt>
                  <c:pt idx="4">
                    <c:v>Total</c:v>
                  </c:pt>
                  <c:pt idx="5">
                    <c:v>Actimel</c:v>
                  </c:pt>
                  <c:pt idx="6">
                    <c:v>Total</c:v>
                  </c:pt>
                  <c:pt idx="7">
                    <c:v>Actimel</c:v>
                  </c:pt>
                  <c:pt idx="8">
                    <c:v>Total</c:v>
                  </c:pt>
                  <c:pt idx="9">
                    <c:v>Actimel</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0</c:v>
                </c:pt>
                <c:pt idx="4">
                  <c:v>1.3826000000000001</c:v>
                </c:pt>
                <c:pt idx="5">
                  <c:v>0</c:v>
                </c:pt>
                <c:pt idx="6">
                  <c:v>3.9119000000000002</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C40D-44ED-A775-13B006AFBD7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C40D-44ED-A775-13B006AFBD7E}"/>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via</c:v>
                  </c:pt>
                  <c:pt idx="2">
                    <c:v>Total</c:v>
                  </c:pt>
                  <c:pt idx="3">
                    <c:v>Activia</c:v>
                  </c:pt>
                  <c:pt idx="4">
                    <c:v>Total</c:v>
                  </c:pt>
                  <c:pt idx="5">
                    <c:v>Activia</c:v>
                  </c:pt>
                  <c:pt idx="6">
                    <c:v>Total</c:v>
                  </c:pt>
                  <c:pt idx="7">
                    <c:v>Activia</c:v>
                  </c:pt>
                  <c:pt idx="8">
                    <c:v>Total</c:v>
                  </c:pt>
                  <c:pt idx="9">
                    <c:v>Activia</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14.2</c:v>
                </c:pt>
                <c:pt idx="4">
                  <c:v>20.6</c:v>
                </c:pt>
                <c:pt idx="5">
                  <c:v>0</c:v>
                </c:pt>
                <c:pt idx="6">
                  <c:v>16.5</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40D-44ED-A775-13B006AFBD7E}"/>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40D-44ED-A775-13B006AFBD7E}"/>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40D-44ED-A775-13B006AFBD7E}"/>
                </c:ext>
              </c:extLst>
            </c:dLbl>
            <c:dLbl>
              <c:idx val="3"/>
              <c:tx>
                <c:rich>
                  <a:bodyPr/>
                  <a:lstStyle/>
                  <a:p>
                    <a:r>
                      <a:t>2.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40D-44ED-A775-13B006AFBD7E}"/>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40D-44ED-A775-13B006AFBD7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40D-44ED-A775-13B006AFBD7E}"/>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40D-44ED-A775-13B006AFBD7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40D-44ED-A775-13B006AFBD7E}"/>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40D-44ED-A775-13B006AFBD7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40D-44ED-A775-13B006AFBD7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ctivia</c:v>
                  </c:pt>
                  <c:pt idx="2">
                    <c:v>Total</c:v>
                  </c:pt>
                  <c:pt idx="3">
                    <c:v>Activia</c:v>
                  </c:pt>
                  <c:pt idx="4">
                    <c:v>Total</c:v>
                  </c:pt>
                  <c:pt idx="5">
                    <c:v>Activia</c:v>
                  </c:pt>
                  <c:pt idx="6">
                    <c:v>Total</c:v>
                  </c:pt>
                  <c:pt idx="7">
                    <c:v>Activia</c:v>
                  </c:pt>
                  <c:pt idx="8">
                    <c:v>Total</c:v>
                  </c:pt>
                  <c:pt idx="9">
                    <c:v>Activia</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2.1539000000000001</c:v>
                </c:pt>
                <c:pt idx="4">
                  <c:v>1.3826000000000001</c:v>
                </c:pt>
                <c:pt idx="5">
                  <c:v>0</c:v>
                </c:pt>
                <c:pt idx="6">
                  <c:v>3.9119000000000002</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2E14-422E-B8C1-9BD8681C06D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2E14-422E-B8C1-9BD8681C06D6}"/>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acol</c:v>
                  </c:pt>
                  <c:pt idx="2">
                    <c:v>Total</c:v>
                  </c:pt>
                  <c:pt idx="3">
                    <c:v>Danacol</c:v>
                  </c:pt>
                  <c:pt idx="4">
                    <c:v>Total</c:v>
                  </c:pt>
                  <c:pt idx="5">
                    <c:v>Danacol</c:v>
                  </c:pt>
                  <c:pt idx="6">
                    <c:v>Total</c:v>
                  </c:pt>
                  <c:pt idx="7">
                    <c:v>Danacol</c:v>
                  </c:pt>
                  <c:pt idx="8">
                    <c:v>Total</c:v>
                  </c:pt>
                  <c:pt idx="9">
                    <c:v>Danacol</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0</c:v>
                </c:pt>
                <c:pt idx="4">
                  <c:v>20.6</c:v>
                </c:pt>
                <c:pt idx="5">
                  <c:v>0</c:v>
                </c:pt>
                <c:pt idx="6">
                  <c:v>16.5</c:v>
                </c:pt>
                <c:pt idx="7">
                  <c:v>0</c:v>
                </c:pt>
                <c:pt idx="8">
                  <c:v>16.3</c:v>
                </c:pt>
                <c:pt idx="9">
                  <c:v>1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14-422E-B8C1-9BD8681C06D6}"/>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14-422E-B8C1-9BD8681C06D6}"/>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14-422E-B8C1-9BD8681C06D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14-422E-B8C1-9BD8681C06D6}"/>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14-422E-B8C1-9BD8681C06D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14-422E-B8C1-9BD8681C06D6}"/>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14-422E-B8C1-9BD8681C06D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14-422E-B8C1-9BD8681C06D6}"/>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14-422E-B8C1-9BD8681C06D6}"/>
                </c:ext>
              </c:extLst>
            </c:dLbl>
            <c:dLbl>
              <c:idx val="9"/>
              <c:tx>
                <c:rich>
                  <a:bodyPr/>
                  <a:lstStyle/>
                  <a:p>
                    <a:r>
                      <a:t>3.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14-422E-B8C1-9BD8681C06D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acol</c:v>
                  </c:pt>
                  <c:pt idx="2">
                    <c:v>Total</c:v>
                  </c:pt>
                  <c:pt idx="3">
                    <c:v>Danacol</c:v>
                  </c:pt>
                  <c:pt idx="4">
                    <c:v>Total</c:v>
                  </c:pt>
                  <c:pt idx="5">
                    <c:v>Danacol</c:v>
                  </c:pt>
                  <c:pt idx="6">
                    <c:v>Total</c:v>
                  </c:pt>
                  <c:pt idx="7">
                    <c:v>Danacol</c:v>
                  </c:pt>
                  <c:pt idx="8">
                    <c:v>Total</c:v>
                  </c:pt>
                  <c:pt idx="9">
                    <c:v>Danacol</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0</c:v>
                </c:pt>
                <c:pt idx="4">
                  <c:v>1.3826000000000001</c:v>
                </c:pt>
                <c:pt idx="5">
                  <c:v>0</c:v>
                </c:pt>
                <c:pt idx="6">
                  <c:v>3.9119000000000002</c:v>
                </c:pt>
                <c:pt idx="7">
                  <c:v>0</c:v>
                </c:pt>
                <c:pt idx="8">
                  <c:v>3.2549000000000001</c:v>
                </c:pt>
                <c:pt idx="9">
                  <c:v>3.2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F4D1-43F8-9346-364E8590E5C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F4D1-43F8-9346-364E8590E5C9}"/>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e</c:v>
                  </c:pt>
                  <c:pt idx="2">
                    <c:v>Total</c:v>
                  </c:pt>
                  <c:pt idx="3">
                    <c:v>Danone</c:v>
                  </c:pt>
                  <c:pt idx="4">
                    <c:v>Total</c:v>
                  </c:pt>
                  <c:pt idx="5">
                    <c:v>Danone</c:v>
                  </c:pt>
                  <c:pt idx="6">
                    <c:v>Total</c:v>
                  </c:pt>
                  <c:pt idx="7">
                    <c:v>Danone</c:v>
                  </c:pt>
                  <c:pt idx="8">
                    <c:v>Total</c:v>
                  </c:pt>
                  <c:pt idx="9">
                    <c:v>Danone</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0</c:v>
                </c:pt>
                <c:pt idx="4">
                  <c:v>20.6</c:v>
                </c:pt>
                <c:pt idx="5">
                  <c:v>12.7</c:v>
                </c:pt>
                <c:pt idx="6">
                  <c:v>16.5</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4D1-43F8-9346-364E8590E5C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4D1-43F8-9346-364E8590E5C9}"/>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4D1-43F8-9346-364E8590E5C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4D1-43F8-9346-364E8590E5C9}"/>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4D1-43F8-9346-364E8590E5C9}"/>
                </c:ext>
              </c:extLst>
            </c:dLbl>
            <c:dLbl>
              <c:idx val="5"/>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4D1-43F8-9346-364E8590E5C9}"/>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4D1-43F8-9346-364E8590E5C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4D1-43F8-9346-364E8590E5C9}"/>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4D1-43F8-9346-364E8590E5C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4D1-43F8-9346-364E8590E5C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e</c:v>
                  </c:pt>
                  <c:pt idx="2">
                    <c:v>Total</c:v>
                  </c:pt>
                  <c:pt idx="3">
                    <c:v>Danone</c:v>
                  </c:pt>
                  <c:pt idx="4">
                    <c:v>Total</c:v>
                  </c:pt>
                  <c:pt idx="5">
                    <c:v>Danone</c:v>
                  </c:pt>
                  <c:pt idx="6">
                    <c:v>Total</c:v>
                  </c:pt>
                  <c:pt idx="7">
                    <c:v>Danone</c:v>
                  </c:pt>
                  <c:pt idx="8">
                    <c:v>Total</c:v>
                  </c:pt>
                  <c:pt idx="9">
                    <c:v>Danone</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0</c:v>
                </c:pt>
                <c:pt idx="4">
                  <c:v>1.3826000000000001</c:v>
                </c:pt>
                <c:pt idx="5">
                  <c:v>1.2534000000000001</c:v>
                </c:pt>
                <c:pt idx="6">
                  <c:v>3.9119000000000002</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8AE8-45D9-B926-4B904A3EC5B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8AE8-45D9-B926-4B904A3EC5B2}"/>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ino</c:v>
                  </c:pt>
                  <c:pt idx="2">
                    <c:v>Total</c:v>
                  </c:pt>
                  <c:pt idx="3">
                    <c:v>Danonino</c:v>
                  </c:pt>
                  <c:pt idx="4">
                    <c:v>Total</c:v>
                  </c:pt>
                  <c:pt idx="5">
                    <c:v>Danonino</c:v>
                  </c:pt>
                  <c:pt idx="6">
                    <c:v>Total</c:v>
                  </c:pt>
                  <c:pt idx="7">
                    <c:v>Danonino</c:v>
                  </c:pt>
                  <c:pt idx="8">
                    <c:v>Total</c:v>
                  </c:pt>
                  <c:pt idx="9">
                    <c:v>Danonino</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0</c:v>
                </c:pt>
                <c:pt idx="4">
                  <c:v>20.6</c:v>
                </c:pt>
                <c:pt idx="5">
                  <c:v>0</c:v>
                </c:pt>
                <c:pt idx="6">
                  <c:v>16.5</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AE8-45D9-B926-4B904A3EC5B2}"/>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AE8-45D9-B926-4B904A3EC5B2}"/>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AE8-45D9-B926-4B904A3EC5B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AE8-45D9-B926-4B904A3EC5B2}"/>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AE8-45D9-B926-4B904A3EC5B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AE8-45D9-B926-4B904A3EC5B2}"/>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AE8-45D9-B926-4B904A3EC5B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AE8-45D9-B926-4B904A3EC5B2}"/>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AE8-45D9-B926-4B904A3EC5B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AE8-45D9-B926-4B904A3EC5B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Danonino</c:v>
                  </c:pt>
                  <c:pt idx="2">
                    <c:v>Total</c:v>
                  </c:pt>
                  <c:pt idx="3">
                    <c:v>Danonino</c:v>
                  </c:pt>
                  <c:pt idx="4">
                    <c:v>Total</c:v>
                  </c:pt>
                  <c:pt idx="5">
                    <c:v>Danonino</c:v>
                  </c:pt>
                  <c:pt idx="6">
                    <c:v>Total</c:v>
                  </c:pt>
                  <c:pt idx="7">
                    <c:v>Danonino</c:v>
                  </c:pt>
                  <c:pt idx="8">
                    <c:v>Total</c:v>
                  </c:pt>
                  <c:pt idx="9">
                    <c:v>Danonino</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0</c:v>
                </c:pt>
                <c:pt idx="4">
                  <c:v>1.3826000000000001</c:v>
                </c:pt>
                <c:pt idx="5">
                  <c:v>0</c:v>
                </c:pt>
                <c:pt idx="6">
                  <c:v>3.9119000000000002</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B-3DF4-4B25-BC70-D7B1907B119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CFCECE"/>
              </a:solidFill>
              <a:ln>
                <a:noFill/>
              </a:ln>
              <a:effectLst/>
            </c:spPr>
            <c:extLst>
              <c:ext xmlns:c16="http://schemas.microsoft.com/office/drawing/2014/chart" uri="{C3380CC4-5D6E-409C-BE32-E72D297353CC}">
                <c16:uniqueId val="{0000001D-3DF4-4B25-BC70-D7B1907B1198}"/>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lpro</c:v>
                  </c:pt>
                  <c:pt idx="2">
                    <c:v>Total</c:v>
                  </c:pt>
                  <c:pt idx="3">
                    <c:v>Alpro</c:v>
                  </c:pt>
                  <c:pt idx="4">
                    <c:v>Total</c:v>
                  </c:pt>
                  <c:pt idx="5">
                    <c:v>Alpro</c:v>
                  </c:pt>
                  <c:pt idx="6">
                    <c:v>Total</c:v>
                  </c:pt>
                  <c:pt idx="7">
                    <c:v>Alpro</c:v>
                  </c:pt>
                  <c:pt idx="8">
                    <c:v>Total</c:v>
                  </c:pt>
                  <c:pt idx="9">
                    <c:v>Alpro</c:v>
                  </c:pt>
                </c:lvl>
                <c:lvl>
                  <c:pt idx="0">
                    <c:v>Greek Spoon</c:v>
                  </c:pt>
                  <c:pt idx="2">
                    <c:v>Bifidus Spoon</c:v>
                  </c:pt>
                  <c:pt idx="4">
                    <c:v>Essential Spoon</c:v>
                  </c:pt>
                  <c:pt idx="6">
                    <c:v>Protein Spoon</c:v>
                  </c:pt>
                  <c:pt idx="8">
                    <c:v>Cholesterol Drink</c:v>
                  </c:pt>
                </c:lvl>
              </c:multiLvlStrCache>
            </c:multiLvlStrRef>
          </c:cat>
          <c:val>
            <c:numRef>
              <c:f>Sheet1!$C$2:$C$11</c:f>
              <c:numCache>
                <c:formatCode>General</c:formatCode>
                <c:ptCount val="10"/>
                <c:pt idx="0">
                  <c:v>32</c:v>
                </c:pt>
                <c:pt idx="1">
                  <c:v>0</c:v>
                </c:pt>
                <c:pt idx="2">
                  <c:v>29.1</c:v>
                </c:pt>
                <c:pt idx="3">
                  <c:v>0</c:v>
                </c:pt>
                <c:pt idx="4">
                  <c:v>20.6</c:v>
                </c:pt>
                <c:pt idx="5">
                  <c:v>0</c:v>
                </c:pt>
                <c:pt idx="6">
                  <c:v>16.5</c:v>
                </c:pt>
                <c:pt idx="7">
                  <c:v>0</c:v>
                </c:pt>
                <c:pt idx="8">
                  <c:v>16.3</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DF4-4B25-BC70-D7B1907B119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DF4-4B25-BC70-D7B1907B1198}"/>
                </c:ext>
              </c:extLst>
            </c:dLbl>
            <c:dLbl>
              <c:idx val="2"/>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DF4-4B25-BC70-D7B1907B119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DF4-4B25-BC70-D7B1907B1198}"/>
                </c:ext>
              </c:extLst>
            </c:dLbl>
            <c:dLbl>
              <c:idx val="4"/>
              <c:tx>
                <c:rich>
                  <a:bodyPr/>
                  <a:lstStyle/>
                  <a:p>
                    <a:r>
                      <a:t>1.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DF4-4B25-BC70-D7B1907B119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DF4-4B25-BC70-D7B1907B1198}"/>
                </c:ext>
              </c:extLst>
            </c:dLbl>
            <c:dLbl>
              <c:idx val="6"/>
              <c:tx>
                <c:rich>
                  <a:bodyPr/>
                  <a:lstStyle/>
                  <a:p>
                    <a:r>
                      <a:t>3.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DF4-4B25-BC70-D7B1907B119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DF4-4B25-BC70-D7B1907B1198}"/>
                </c:ext>
              </c:extLst>
            </c:dLbl>
            <c:dLbl>
              <c:idx val="8"/>
              <c:tx>
                <c:rich>
                  <a:bodyPr/>
                  <a:lstStyle/>
                  <a:p>
                    <a:r>
                      <a:t>3.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DF4-4B25-BC70-D7B1907B119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DF4-4B25-BC70-D7B1907B119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Alpro</c:v>
                  </c:pt>
                  <c:pt idx="2">
                    <c:v>Total</c:v>
                  </c:pt>
                  <c:pt idx="3">
                    <c:v>Alpro</c:v>
                  </c:pt>
                  <c:pt idx="4">
                    <c:v>Total</c:v>
                  </c:pt>
                  <c:pt idx="5">
                    <c:v>Alpro</c:v>
                  </c:pt>
                  <c:pt idx="6">
                    <c:v>Total</c:v>
                  </c:pt>
                  <c:pt idx="7">
                    <c:v>Alpro</c:v>
                  </c:pt>
                  <c:pt idx="8">
                    <c:v>Total</c:v>
                  </c:pt>
                  <c:pt idx="9">
                    <c:v>Alpro</c:v>
                  </c:pt>
                </c:lvl>
                <c:lvl>
                  <c:pt idx="0">
                    <c:v>Greek Spoon</c:v>
                  </c:pt>
                  <c:pt idx="2">
                    <c:v>Bifidus Spoon</c:v>
                  </c:pt>
                  <c:pt idx="4">
                    <c:v>Essential Spoon</c:v>
                  </c:pt>
                  <c:pt idx="6">
                    <c:v>Protein Spoon</c:v>
                  </c:pt>
                  <c:pt idx="8">
                    <c:v>Cholesterol Drink</c:v>
                  </c:pt>
                </c:lvl>
              </c:multiLvlStrCache>
            </c:multiLvlStrRef>
          </c:cat>
          <c:val>
            <c:numRef>
              <c:f>Sheet1!$D$2:$D$11</c:f>
              <c:numCache>
                <c:formatCode>General</c:formatCode>
                <c:ptCount val="10"/>
                <c:pt idx="0">
                  <c:v>2.2387999999999999</c:v>
                </c:pt>
                <c:pt idx="1">
                  <c:v>0</c:v>
                </c:pt>
                <c:pt idx="2">
                  <c:v>2.0173999999999999</c:v>
                </c:pt>
                <c:pt idx="3">
                  <c:v>0</c:v>
                </c:pt>
                <c:pt idx="4">
                  <c:v>1.3826000000000001</c:v>
                </c:pt>
                <c:pt idx="5">
                  <c:v>0</c:v>
                </c:pt>
                <c:pt idx="6">
                  <c:v>3.9119000000000002</c:v>
                </c:pt>
                <c:pt idx="7">
                  <c:v>0</c:v>
                </c:pt>
                <c:pt idx="8">
                  <c:v>3.25490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AB578BF6-2D15-4A36-9EB1-7A5011631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37E564F8-D4B0-4D7A-941A-CCB8223F7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CA-4C16-90F6-A0D9A3D8DA8E}"/>
                </c:ext>
              </c:extLst>
            </c:dLbl>
            <c:dLbl>
              <c:idx val="3"/>
              <c:tx>
                <c:rich>
                  <a:bodyPr/>
                  <a:lstStyle/>
                  <a:p>
                    <a:fld id="{5FE48A8F-0BF5-43E2-99B5-666A30F68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CA-4C16-90F6-A0D9A3D8DA8E}"/>
                </c:ext>
              </c:extLst>
            </c:dLbl>
            <c:dLbl>
              <c:idx val="4"/>
              <c:tx>
                <c:rich>
                  <a:bodyPr/>
                  <a:lstStyle/>
                  <a:p>
                    <a:fld id="{530318A2-8E71-4147-A61A-8D9CF084A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CA-4C16-90F6-A0D9A3D8DA8E}"/>
                </c:ext>
              </c:extLst>
            </c:dLbl>
            <c:dLbl>
              <c:idx val="5"/>
              <c:tx>
                <c:rich>
                  <a:bodyPr/>
                  <a:lstStyle/>
                  <a:p>
                    <a:fld id="{EE916590-6828-48DB-906E-B6F2A6B44C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CA-4C16-90F6-A0D9A3D8DA8E}"/>
                </c:ext>
              </c:extLst>
            </c:dLbl>
            <c:dLbl>
              <c:idx val="6"/>
              <c:tx>
                <c:rich>
                  <a:bodyPr/>
                  <a:lstStyle/>
                  <a:p>
                    <a:fld id="{8BF2EFDB-7CAF-4E92-8E7D-AEBAC59AE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CA-4C16-90F6-A0D9A3D8DA8E}"/>
                </c:ext>
              </c:extLst>
            </c:dLbl>
            <c:dLbl>
              <c:idx val="7"/>
              <c:tx>
                <c:rich>
                  <a:bodyPr/>
                  <a:lstStyle/>
                  <a:p>
                    <a:fld id="{973AC8CA-124D-4AF6-AF39-B999F37C2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CA-4C16-90F6-A0D9A3D8DA8E}"/>
                </c:ext>
              </c:extLst>
            </c:dLbl>
            <c:dLbl>
              <c:idx val="8"/>
              <c:tx>
                <c:rich>
                  <a:bodyPr/>
                  <a:lstStyle/>
                  <a:p>
                    <a:fld id="{0EE51DE6-F615-4546-855C-5367BC301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282</c:v>
                </c:pt>
                <c:pt idx="1">
                  <c:v>2.46</c:v>
                </c:pt>
              </c:numCache>
            </c:numRef>
          </c:xVal>
          <c:yVal>
            <c:numRef>
              <c:f>Sheet1!$B$2:$B$3</c:f>
              <c:numCache>
                <c:formatCode>General</c:formatCode>
                <c:ptCount val="2"/>
                <c:pt idx="0">
                  <c:v>1.008</c:v>
                </c:pt>
                <c:pt idx="1">
                  <c:v>0.94499999999999995</c:v>
                </c:pt>
              </c:numCache>
            </c:numRef>
          </c:yVal>
          <c:bubbleSize>
            <c:numRef>
              <c:f>Sheet1!$C$2:$C$3</c:f>
              <c:numCache>
                <c:formatCode>General</c:formatCode>
                <c:ptCount val="2"/>
                <c:pt idx="0">
                  <c:v>14310702</c:v>
                </c:pt>
                <c:pt idx="1">
                  <c:v>2023564</c:v>
                </c:pt>
              </c:numCache>
            </c:numRef>
          </c:bubbleSize>
          <c:bubble3D val="0"/>
          <c:extLst>
            <c:ext xmlns:c15="http://schemas.microsoft.com/office/drawing/2012/chart" uri="{02D57815-91ED-43cb-92C2-25804820EDAC}">
              <c15:datalabelsRange>
                <c15:f>Sheet1!$E$2:$E$10</c15:f>
                <c15:dlblRangeCache>
                  <c:ptCount val="9"/>
                  <c:pt idx="0">
                    <c:v>Danacol</c:v>
                  </c:pt>
                  <c:pt idx="1">
                    <c:v>Hacendado</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5/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3.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5.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7.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oleObject" Target="../embeddings/oleObject27.bin"/><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3.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6.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7.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40.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27.bin"/><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2.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3.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5.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6.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7.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50.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1.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2.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3.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14.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0.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1.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Mercadon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3970153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Yogur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5392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very Day Nutrit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5254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72609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Plant Base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92322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2833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Prote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57348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2324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Bifidu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767998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6741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Cholestero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33224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5780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ssenti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86554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0083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Immunit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4525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59833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efi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082383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8119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01438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68281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Ligh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566871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3502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Mercadon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37456070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162991410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32456990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54966549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Functionals</a:t>
                      </a:r>
                    </a:p>
                  </a:txBody>
                  <a:tcPr anchor="ctr">
                    <a:solidFill>
                      <a:schemeClr val="bg2"/>
                    </a:solidFill>
                  </a:tcPr>
                </a:tc>
                <a:tc>
                  <a:txBody>
                    <a:bodyPr/>
                    <a:lstStyle/>
                    <a:p>
                      <a:pPr algn="ctr">
                        <a:defRPr sz="1100">
                          <a:latin typeface="Nexa Book"/>
                        </a:defRPr>
                      </a:pPr>
                      <a:r>
                        <a:rPr b="1">
                          <a:solidFill>
                            <a:srgbClr val="575555"/>
                          </a:solidFill>
                        </a:rPr>
                        <a:t>Every Day Nutrition</a:t>
                      </a:r>
                    </a:p>
                  </a:txBody>
                  <a:tcPr anchor="ctr">
                    <a:solidFill>
                      <a:schemeClr val="bg2"/>
                    </a:solidFill>
                  </a:tcPr>
                </a:tc>
                <a:tc>
                  <a:txBody>
                    <a:bodyPr/>
                    <a:lstStyle/>
                    <a:p>
                      <a:pPr algn="ctr">
                        <a:defRPr sz="1100">
                          <a:latin typeface="Nexa Book"/>
                        </a:defRPr>
                      </a:pPr>
                      <a:r>
                        <a:rPr b="1">
                          <a:solidFill>
                            <a:srgbClr val="575555"/>
                          </a:solidFill>
                        </a:rPr>
                        <a:t>Plant Based</a:t>
                      </a:r>
                    </a:p>
                  </a:txBody>
                  <a:tcPr anchor="ctr">
                    <a:solidFill>
                      <a:schemeClr val="bg2"/>
                    </a:solidFill>
                  </a:tcPr>
                </a:tc>
                <a:tc>
                  <a:txBody>
                    <a:bodyPr/>
                    <a:lstStyle/>
                    <a:p>
                      <a:pPr algn="ctr">
                        <a:defRPr sz="1100">
                          <a:latin typeface="Nexa Book"/>
                        </a:defRPr>
                      </a:pPr>
                      <a:r>
                        <a:rPr b="1">
                          <a:solidFill>
                            <a:srgbClr val="575555"/>
                          </a:solidFill>
                        </a:rPr>
                        <a:t>Protei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03612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ssential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72008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6199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Greek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52983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8379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Drin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56375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753016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00920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49163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Light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4311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668492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Yogurt | Mercadon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09961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203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Functiona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4117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42620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Every Day Nutrit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36650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52667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Plant Base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3146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4303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Prote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31420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38965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Mercadon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3220552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1806322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95924300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929626871"/>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Plant Based</a:t>
                      </a:r>
                    </a:p>
                  </a:txBody>
                  <a:tcPr anchor="ctr">
                    <a:solidFill>
                      <a:schemeClr val="bg2"/>
                    </a:solidFill>
                  </a:tcPr>
                </a:tc>
                <a:tc>
                  <a:txBody>
                    <a:bodyPr/>
                    <a:lstStyle/>
                    <a:p>
                      <a:pPr algn="ctr">
                        <a:defRPr sz="1100">
                          <a:latin typeface="Nexa Book"/>
                        </a:defRPr>
                      </a:pPr>
                      <a:r>
                        <a:rPr b="1">
                          <a:solidFill>
                            <a:srgbClr val="575555"/>
                          </a:solidFill>
                        </a:rPr>
                        <a:t>Protein</a:t>
                      </a:r>
                    </a:p>
                  </a:txBody>
                  <a:tcPr anchor="ctr">
                    <a:solidFill>
                      <a:schemeClr val="bg2"/>
                    </a:solidFill>
                  </a:tcPr>
                </a:tc>
                <a:tc>
                  <a:txBody>
                    <a:bodyPr/>
                    <a:lstStyle/>
                    <a:p>
                      <a:pPr algn="ctr">
                        <a:defRPr sz="1100">
                          <a:latin typeface="Nexa Book"/>
                        </a:defRPr>
                      </a:pPr>
                      <a:r>
                        <a:rPr b="1">
                          <a:solidFill>
                            <a:srgbClr val="575555"/>
                          </a:solidFill>
                        </a:rPr>
                        <a:t>Bifidus</a:t>
                      </a:r>
                    </a:p>
                  </a:txBody>
                  <a:tcPr anchor="ctr">
                    <a:solidFill>
                      <a:schemeClr val="bg2"/>
                    </a:solidFill>
                  </a:tcPr>
                </a:tc>
                <a:tc>
                  <a:txBody>
                    <a:bodyPr/>
                    <a:lstStyle/>
                    <a:p>
                      <a:pPr algn="ctr">
                        <a:defRPr sz="1100">
                          <a:latin typeface="Nexa Book"/>
                        </a:defRPr>
                      </a:pPr>
                      <a:r>
                        <a:rPr b="1">
                          <a:solidFill>
                            <a:srgbClr val="575555"/>
                          </a:solidFill>
                        </a:rPr>
                        <a:t>Cholesterol</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594607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Bifidu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8100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161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Cholestero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52992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7444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Essenti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30339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827105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Immunit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2386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93600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Kefi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03463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49391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4853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66444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Ligh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54735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5416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Essential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882809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623429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Greek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77324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808738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Kids Drin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86359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1050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Mercadon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161313340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399095209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45394520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2097783114"/>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Essential</a:t>
                      </a:r>
                    </a:p>
                  </a:txBody>
                  <a:tcPr anchor="ctr">
                    <a:solidFill>
                      <a:schemeClr val="bg2"/>
                    </a:solidFill>
                  </a:tcPr>
                </a:tc>
                <a:tc>
                  <a:txBody>
                    <a:bodyPr/>
                    <a:lstStyle/>
                    <a:p>
                      <a:pPr algn="ctr">
                        <a:defRPr sz="1100">
                          <a:latin typeface="Nexa Book"/>
                        </a:defRPr>
                      </a:pPr>
                      <a:r>
                        <a:rPr b="1">
                          <a:solidFill>
                            <a:srgbClr val="575555"/>
                          </a:solidFill>
                        </a:rPr>
                        <a:t>Immunity</a:t>
                      </a:r>
                    </a:p>
                  </a:txBody>
                  <a:tcPr anchor="ctr">
                    <a:solidFill>
                      <a:schemeClr val="bg2"/>
                    </a:solidFill>
                  </a:tcPr>
                </a:tc>
                <a:tc>
                  <a:txBody>
                    <a:bodyPr/>
                    <a:lstStyle/>
                    <a:p>
                      <a:pPr algn="ctr">
                        <a:defRPr sz="1100">
                          <a:latin typeface="Nexa Book"/>
                        </a:defRPr>
                      </a:pPr>
                      <a:r>
                        <a:rPr b="1">
                          <a:solidFill>
                            <a:srgbClr val="575555"/>
                          </a:solidFill>
                        </a:rPr>
                        <a:t>Kefir</a:t>
                      </a:r>
                    </a:p>
                  </a:txBody>
                  <a:tcPr anchor="ctr">
                    <a:solidFill>
                      <a:schemeClr val="bg2"/>
                    </a:solidFill>
                  </a:tcPr>
                </a:tc>
                <a:tc>
                  <a:txBody>
                    <a:bodyPr/>
                    <a:lstStyle/>
                    <a:p>
                      <a:pPr algn="ctr">
                        <a:defRPr sz="1100">
                          <a:latin typeface="Nexa Book"/>
                        </a:defRPr>
                      </a:pPr>
                      <a:r>
                        <a:rPr b="1">
                          <a:solidFill>
                            <a:srgbClr val="575555"/>
                          </a:solidFill>
                        </a:rPr>
                        <a:t>Kid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122074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Kids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35027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024254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ercadona | Light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07875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95175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Functionals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Danac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ctiv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ctim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very Day Nutrition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lp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683435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ifidu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Activ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olestero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ac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mmunity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ctim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lp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971754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efir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722986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Greek Spoon (1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Spoon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Spo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ids Spoon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Drin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00128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Functionals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very Day Nutrition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est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890004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ifidu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st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olestero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mmunity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719605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efir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942243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ub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Greek Spoon (1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Spoon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st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Spo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ids Spoon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e Group</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Drin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52147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Mercadona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1927571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Light</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066885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Danone Group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308205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Actime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57640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Activia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77458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Danaco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084442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Danone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393014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Danonin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69383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Kg | Category vs. Alpr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6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782400">
                  <a:extLst>
                    <a:ext uri="{9D8B030D-6E8A-4147-A177-3AD203B41FA5}">
                      <a16:colId xmlns:a16="http://schemas.microsoft.com/office/drawing/2014/main" val="2253286919"/>
                    </a:ext>
                  </a:extLst>
                </a:gridCol>
                <a:gridCol w="782400">
                  <a:extLst>
                    <a:ext uri="{9D8B030D-6E8A-4147-A177-3AD203B41FA5}">
                      <a16:colId xmlns:a16="http://schemas.microsoft.com/office/drawing/2014/main" val="154020430"/>
                    </a:ext>
                  </a:extLst>
                </a:gridCol>
                <a:gridCol w="782400">
                  <a:extLst>
                    <a:ext uri="{9D8B030D-6E8A-4147-A177-3AD203B41FA5}">
                      <a16:colId xmlns:a16="http://schemas.microsoft.com/office/drawing/2014/main" val="3928813835"/>
                    </a:ext>
                  </a:extLst>
                </a:gridCol>
                <a:gridCol w="782400">
                  <a:extLst>
                    <a:ext uri="{9D8B030D-6E8A-4147-A177-3AD203B41FA5}">
                      <a16:colId xmlns:a16="http://schemas.microsoft.com/office/drawing/2014/main" val="4099274801"/>
                    </a:ext>
                  </a:extLst>
                </a:gridCol>
                <a:gridCol w="782400">
                  <a:extLst>
                    <a:ext uri="{9D8B030D-6E8A-4147-A177-3AD203B41FA5}">
                      <a16:colId xmlns:a16="http://schemas.microsoft.com/office/drawing/2014/main" val="3203434082"/>
                    </a:ext>
                  </a:extLst>
                </a:gridCol>
                <a:gridCol w="782400">
                  <a:extLst>
                    <a:ext uri="{9D8B030D-6E8A-4147-A177-3AD203B41FA5}">
                      <a16:colId xmlns:a16="http://schemas.microsoft.com/office/drawing/2014/main" val="1306444463"/>
                    </a:ext>
                  </a:extLst>
                </a:gridCol>
                <a:gridCol w="782400">
                  <a:extLst>
                    <a:ext uri="{9D8B030D-6E8A-4147-A177-3AD203B41FA5}">
                      <a16:colId xmlns:a16="http://schemas.microsoft.com/office/drawing/2014/main" val="2052677327"/>
                    </a:ext>
                  </a:extLst>
                </a:gridCol>
                <a:gridCol w="782400">
                  <a:extLst>
                    <a:ext uri="{9D8B030D-6E8A-4147-A177-3AD203B41FA5}">
                      <a16:colId xmlns:a16="http://schemas.microsoft.com/office/drawing/2014/main" val="1311887603"/>
                    </a:ext>
                  </a:extLst>
                </a:gridCol>
                <a:gridCol w="782400">
                  <a:extLst>
                    <a:ext uri="{9D8B030D-6E8A-4147-A177-3AD203B41FA5}">
                      <a16:colId xmlns:a16="http://schemas.microsoft.com/office/drawing/2014/main" val="2227414998"/>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5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782405">
                  <a:extLst>
                    <a:ext uri="{9D8B030D-6E8A-4147-A177-3AD203B41FA5}">
                      <a16:colId xmlns:a16="http://schemas.microsoft.com/office/drawing/2014/main" val="2253286919"/>
                    </a:ext>
                  </a:extLst>
                </a:gridCol>
                <a:gridCol w="782405">
                  <a:extLst>
                    <a:ext uri="{9D8B030D-6E8A-4147-A177-3AD203B41FA5}">
                      <a16:colId xmlns:a16="http://schemas.microsoft.com/office/drawing/2014/main" val="154020430"/>
                    </a:ext>
                  </a:extLst>
                </a:gridCol>
                <a:gridCol w="782405">
                  <a:extLst>
                    <a:ext uri="{9D8B030D-6E8A-4147-A177-3AD203B41FA5}">
                      <a16:colId xmlns:a16="http://schemas.microsoft.com/office/drawing/2014/main" val="3928813835"/>
                    </a:ext>
                  </a:extLst>
                </a:gridCol>
                <a:gridCol w="782405">
                  <a:extLst>
                    <a:ext uri="{9D8B030D-6E8A-4147-A177-3AD203B41FA5}">
                      <a16:colId xmlns:a16="http://schemas.microsoft.com/office/drawing/2014/main" val="4099274801"/>
                    </a:ext>
                  </a:extLst>
                </a:gridCol>
                <a:gridCol w="782405">
                  <a:extLst>
                    <a:ext uri="{9D8B030D-6E8A-4147-A177-3AD203B41FA5}">
                      <a16:colId xmlns:a16="http://schemas.microsoft.com/office/drawing/2014/main" val="3203434082"/>
                    </a:ext>
                  </a:extLst>
                </a:gridCol>
                <a:gridCol w="782405">
                  <a:extLst>
                    <a:ext uri="{9D8B030D-6E8A-4147-A177-3AD203B41FA5}">
                      <a16:colId xmlns:a16="http://schemas.microsoft.com/office/drawing/2014/main" val="1306444463"/>
                    </a:ext>
                  </a:extLst>
                </a:gridCol>
                <a:gridCol w="782405">
                  <a:extLst>
                    <a:ext uri="{9D8B030D-6E8A-4147-A177-3AD203B41FA5}">
                      <a16:colId xmlns:a16="http://schemas.microsoft.com/office/drawing/2014/main" val="2052677327"/>
                    </a:ext>
                  </a:extLst>
                </a:gridCol>
                <a:gridCol w="782405">
                  <a:extLst>
                    <a:ext uri="{9D8B030D-6E8A-4147-A177-3AD203B41FA5}">
                      <a16:colId xmlns:a16="http://schemas.microsoft.com/office/drawing/2014/main" val="1311887603"/>
                    </a:ext>
                  </a:extLst>
                </a:gridCol>
                <a:gridCol w="782405">
                  <a:extLst>
                    <a:ext uri="{9D8B030D-6E8A-4147-A177-3AD203B41FA5}">
                      <a16:colId xmlns:a16="http://schemas.microsoft.com/office/drawing/2014/main" val="2227414998"/>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057667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Danone Group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33598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Actime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08802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Activia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1299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ubSegment | Mercadona | P12M</a:t>
            </a:r>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extLst>
              <p:ext uri="{D42A27DB-BD31-4B8C-83A1-F6EECF244321}">
                <p14:modId xmlns:p14="http://schemas.microsoft.com/office/powerpoint/2010/main" val="208881929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extLst>
              <p:ext uri="{D42A27DB-BD31-4B8C-83A1-F6EECF244321}">
                <p14:modId xmlns:p14="http://schemas.microsoft.com/office/powerpoint/2010/main" val="253479301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extLst>
              <p:ext uri="{D42A27DB-BD31-4B8C-83A1-F6EECF244321}">
                <p14:modId xmlns:p14="http://schemas.microsoft.com/office/powerpoint/2010/main" val="285286236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extLst>
              <p:ext uri="{D42A27DB-BD31-4B8C-83A1-F6EECF244321}">
                <p14:modId xmlns:p14="http://schemas.microsoft.com/office/powerpoint/2010/main" val="3732460038"/>
              </p:ext>
            </p:extLst>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defRPr sz="1100">
                          <a:latin typeface="Nexa Book"/>
                        </a:defRPr>
                      </a:pPr>
                      <a:r>
                        <a:rPr b="1">
                          <a:solidFill>
                            <a:srgbClr val="575555"/>
                          </a:solidFill>
                        </a:rPr>
                        <a:t>Essential Spoon</a:t>
                      </a:r>
                    </a:p>
                  </a:txBody>
                  <a:tcPr anchor="ctr">
                    <a:solidFill>
                      <a:schemeClr val="bg2"/>
                    </a:solidFill>
                  </a:tcPr>
                </a:tc>
                <a:tc>
                  <a:txBody>
                    <a:bodyPr/>
                    <a:lstStyle/>
                    <a:p>
                      <a:pPr algn="ctr">
                        <a:defRPr sz="1100">
                          <a:latin typeface="Nexa Book"/>
                        </a:defRPr>
                      </a:pPr>
                      <a:r>
                        <a:rPr b="1">
                          <a:solidFill>
                            <a:srgbClr val="575555"/>
                          </a:solidFill>
                        </a:rPr>
                        <a:t>Greek Spoon</a:t>
                      </a:r>
                    </a:p>
                  </a:txBody>
                  <a:tcPr anchor="ctr">
                    <a:solidFill>
                      <a:schemeClr val="bg2"/>
                    </a:solidFill>
                  </a:tcPr>
                </a:tc>
                <a:tc>
                  <a:txBody>
                    <a:bodyPr/>
                    <a:lstStyle/>
                    <a:p>
                      <a:pPr algn="ctr">
                        <a:defRPr sz="1100">
                          <a:latin typeface="Nexa Book"/>
                        </a:defRPr>
                      </a:pPr>
                      <a:r>
                        <a:rPr b="1">
                          <a:solidFill>
                            <a:srgbClr val="575555"/>
                          </a:solidFill>
                        </a:rPr>
                        <a:t>Kids Drink</a:t>
                      </a:r>
                    </a:p>
                  </a:txBody>
                  <a:tcPr anchor="ctr">
                    <a:solidFill>
                      <a:schemeClr val="bg2"/>
                    </a:solidFill>
                  </a:tcPr>
                </a:tc>
                <a:tc>
                  <a:txBody>
                    <a:bodyPr/>
                    <a:lstStyle/>
                    <a:p>
                      <a:pPr algn="ctr">
                        <a:defRPr sz="1100">
                          <a:latin typeface="Nexa Book"/>
                        </a:defRPr>
                      </a:pPr>
                      <a:r>
                        <a:rPr b="1">
                          <a:solidFill>
                            <a:srgbClr val="575555"/>
                          </a:solidFill>
                        </a:rPr>
                        <a:t>Kids Spoo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6616452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Danaco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21366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Danone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97582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Danonin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084318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ubSegment Value Sales &amp; Avg Price Per Kg | Category vs. Alpr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9987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Actime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077067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Activia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244720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Danaco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20938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Danone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937285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Danonin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705220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Kg | Category vs. Alpr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57328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38284904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363867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Actime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868110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Activia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60373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Danaco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873116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Danone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161037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Danonin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4934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Kg | Category vs. Alpr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53524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Actime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73415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Activia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811986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Danacol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84032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Danone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20721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Yogurt | Mercadon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58280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188311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Danonin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77754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5/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December 2024</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ubSegments Value Sales &amp; Avg Price Per Kg | Category vs. Alpro | Mercadona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ub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0297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Functiona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02982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7100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TotalTime>
  <Words>7881</Words>
  <Application>Microsoft Office PowerPoint</Application>
  <PresentationFormat>On-screen Show (16:9)</PresentationFormat>
  <Paragraphs>2391</Paragraphs>
  <Slides>81</Slides>
  <Notes>4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1"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ubSegments Leadership Analysis</vt:lpstr>
      <vt:lpstr>SubSegments Leadership Analysis</vt:lpstr>
      <vt:lpstr>SubSegments Leadership Analysis</vt:lpstr>
      <vt:lpstr>SubSegments Leadership Analysis</vt:lpstr>
      <vt:lpstr>SubSegments Leadership Analysis</vt:lpstr>
      <vt:lpstr>Sub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7</cp:revision>
  <dcterms:created xsi:type="dcterms:W3CDTF">2024-07-05T14:56:51Z</dcterms:created>
  <dcterms:modified xsi:type="dcterms:W3CDTF">2025-05-27T11:5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